
<file path=[Content_Types].xml><?xml version="1.0" encoding="utf-8"?>
<Types xmlns="http://schemas.openxmlformats.org/package/2006/content-types">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heme/themeOverride2.xml" ContentType="application/vnd.openxmlformats-officedocument.themeOverr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6.xml" ContentType="application/vnd.openxmlformats-officedocument.presentationml.tags+xml"/>
  <Override PartName="/ppt/notesSlides/notesSlide11.xml" ContentType="application/vnd.openxmlformats-officedocument.presentationml.notesSlide+xml"/>
  <Override PartName="/ppt/theme/themeOverride3.xml" ContentType="application/vnd.openxmlformats-officedocument.themeOverride+xml"/>
  <Override PartName="/ppt/tags/tag7.xml" ContentType="application/vnd.openxmlformats-officedocument.presentationml.tags+xml"/>
  <Override PartName="/ppt/tags/tag8.xml" ContentType="application/vnd.openxmlformats-officedocument.presentationml.tags+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5"/>
  </p:notesMasterIdLst>
  <p:sldIdLst>
    <p:sldId id="256" r:id="rId2"/>
    <p:sldId id="329" r:id="rId3"/>
    <p:sldId id="258" r:id="rId4"/>
    <p:sldId id="332" r:id="rId5"/>
    <p:sldId id="373" r:id="rId6"/>
    <p:sldId id="377" r:id="rId7"/>
    <p:sldId id="379" r:id="rId8"/>
    <p:sldId id="351" r:id="rId9"/>
    <p:sldId id="376" r:id="rId10"/>
    <p:sldId id="356" r:id="rId11"/>
    <p:sldId id="350" r:id="rId12"/>
    <p:sldId id="367" r:id="rId13"/>
    <p:sldId id="261" r:id="rId14"/>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2A40"/>
    <a:srgbClr val="A8CADC"/>
    <a:srgbClr val="5D66D3"/>
    <a:srgbClr val="474EBB"/>
    <a:srgbClr val="333A7F"/>
    <a:srgbClr val="717DDB"/>
    <a:srgbClr val="00326C"/>
    <a:srgbClr val="07316D"/>
    <a:srgbClr val="93E4DF"/>
    <a:srgbClr val="08386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33543" autoAdjust="0"/>
    <p:restoredTop sz="96201" autoAdjust="0"/>
  </p:normalViewPr>
  <p:slideViewPr>
    <p:cSldViewPr snapToGrid="0" showGuides="1">
      <p:cViewPr varScale="1">
        <p:scale>
          <a:sx n="64" d="100"/>
          <a:sy n="64" d="100"/>
        </p:scale>
        <p:origin x="40" y="160"/>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0/7/19</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N°›</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11</a:t>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12</a:t>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13</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2</a:t>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3</a:t>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4</a:t>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5</a:t>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7</a:t>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8</a:t>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9</a:t>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10</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标题幻灯片">
    <p:bg>
      <p:bgPr>
        <a:solidFill>
          <a:schemeClr val="accent1"/>
        </a:solidFill>
        <a:effectLst/>
      </p:bgPr>
    </p:bg>
    <p:spTree>
      <p:nvGrpSpPr>
        <p:cNvPr id="1" name=""/>
        <p:cNvGrpSpPr/>
        <p:nvPr/>
      </p:nvGrpSpPr>
      <p:grpSpPr>
        <a:xfrm>
          <a:off x="0" y="0"/>
          <a:ext cx="0" cy="0"/>
          <a:chOff x="0" y="0"/>
          <a:chExt cx="0" cy="0"/>
        </a:xfrm>
      </p:grpSpPr>
      <p:sp>
        <p:nvSpPr>
          <p:cNvPr id="7" name="平行四边形 6"/>
          <p:cNvSpPr/>
          <p:nvPr/>
        </p:nvSpPr>
        <p:spPr>
          <a:xfrm rot="16200000">
            <a:off x="4198507" y="-2092932"/>
            <a:ext cx="3794987" cy="12192001"/>
          </a:xfrm>
          <a:prstGeom prst="parallelogram">
            <a:avLst>
              <a:gd name="adj" fmla="val 37141"/>
            </a:avLst>
          </a:prstGeom>
          <a:blipFill dpi="0" rotWithShape="0">
            <a:blip r:embed="rId2"/>
            <a:srcRect/>
            <a:stretch>
              <a:fillRect l="-39134" t="-110643" r="-38644" b="-11064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cxnSp>
        <p:nvCxnSpPr>
          <p:cNvPr id="10" name="直接连接符 9"/>
          <p:cNvCxnSpPr/>
          <p:nvPr userDrawn="1"/>
        </p:nvCxnSpPr>
        <p:spPr>
          <a:xfrm>
            <a:off x="9448800" y="4116678"/>
            <a:ext cx="2705638" cy="317984"/>
          </a:xfrm>
          <a:prstGeom prst="line">
            <a:avLst/>
          </a:prstGeom>
          <a:ln w="88900" cap="sq">
            <a:solidFill>
              <a:srgbClr val="172A40"/>
            </a:solidFill>
            <a:miter lim="800000"/>
          </a:ln>
        </p:spPr>
        <p:style>
          <a:lnRef idx="1">
            <a:schemeClr val="accent1"/>
          </a:lnRef>
          <a:fillRef idx="0">
            <a:schemeClr val="accent1"/>
          </a:fillRef>
          <a:effectRef idx="0">
            <a:schemeClr val="accent1"/>
          </a:effectRef>
          <a:fontRef idx="minor">
            <a:schemeClr val="tx1"/>
          </a:fontRef>
        </p:style>
      </p:cxnSp>
      <p:sp>
        <p:nvSpPr>
          <p:cNvPr id="9802" name="标题 1"/>
          <p:cNvSpPr>
            <a:spLocks noGrp="1"/>
          </p:cNvSpPr>
          <p:nvPr>
            <p:ph type="ctrTitle"/>
          </p:nvPr>
        </p:nvSpPr>
        <p:spPr>
          <a:xfrm>
            <a:off x="669925" y="1602248"/>
            <a:ext cx="7384867" cy="1131138"/>
          </a:xfrm>
        </p:spPr>
        <p:txBody>
          <a:bodyPr anchor="ctr">
            <a:normAutofit/>
          </a:bodyPr>
          <a:lstStyle>
            <a:lvl1pPr algn="ctr">
              <a:defRPr sz="4000">
                <a:solidFill>
                  <a:schemeClr val="bg1"/>
                </a:solidFill>
              </a:defRPr>
            </a:lvl1pPr>
          </a:lstStyle>
          <a:p>
            <a:r>
              <a:rPr lang="en-US" dirty="0"/>
              <a:t>Click to edit master title style</a:t>
            </a:r>
            <a:endParaRPr lang="zh-CN" altLang="en-US" dirty="0"/>
          </a:p>
        </p:txBody>
      </p:sp>
      <p:sp>
        <p:nvSpPr>
          <p:cNvPr id="9801" name="副标题 2"/>
          <p:cNvSpPr>
            <a:spLocks noGrp="1"/>
          </p:cNvSpPr>
          <p:nvPr>
            <p:ph type="subTitle" idx="1" hasCustomPrompt="1"/>
          </p:nvPr>
        </p:nvSpPr>
        <p:spPr>
          <a:xfrm>
            <a:off x="694481" y="1320807"/>
            <a:ext cx="5188078" cy="385096"/>
          </a:xfrm>
        </p:spPr>
        <p:txBody>
          <a:bodyPr anchor="ctr">
            <a:normAutofit/>
          </a:bodyPr>
          <a:lstStyle>
            <a:lvl1pPr marL="0" indent="0" algn="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cxnSp>
        <p:nvCxnSpPr>
          <p:cNvPr id="5" name="直接连接符 4"/>
          <p:cNvCxnSpPr/>
          <p:nvPr userDrawn="1"/>
        </p:nvCxnSpPr>
        <p:spPr>
          <a:xfrm>
            <a:off x="9448800" y="4116678"/>
            <a:ext cx="2705638" cy="317984"/>
          </a:xfrm>
          <a:prstGeom prst="line">
            <a:avLst/>
          </a:prstGeom>
          <a:ln w="889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 name="直接连接符 5"/>
          <p:cNvCxnSpPr/>
          <p:nvPr userDrawn="1"/>
        </p:nvCxnSpPr>
        <p:spPr>
          <a:xfrm>
            <a:off x="11053120" y="3711108"/>
            <a:ext cx="1101318" cy="129434"/>
          </a:xfrm>
          <a:prstGeom prst="line">
            <a:avLst/>
          </a:prstGeom>
          <a:ln w="508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 name="直接连接符 6"/>
          <p:cNvCxnSpPr/>
          <p:nvPr userDrawn="1"/>
        </p:nvCxnSpPr>
        <p:spPr>
          <a:xfrm>
            <a:off x="8763000" y="3166137"/>
            <a:ext cx="3391438" cy="398584"/>
          </a:xfrm>
          <a:prstGeom prst="line">
            <a:avLst/>
          </a:prstGeom>
          <a:ln w="92075" cap="sq">
            <a:solidFill>
              <a:schemeClr val="accent2"/>
            </a:solidFill>
            <a:miter lim="800000"/>
          </a:ln>
        </p:spPr>
        <p:style>
          <a:lnRef idx="1">
            <a:schemeClr val="accent1"/>
          </a:lnRef>
          <a:fillRef idx="0">
            <a:schemeClr val="accent1"/>
          </a:fillRef>
          <a:effectRef idx="0">
            <a:schemeClr val="accent1"/>
          </a:effectRef>
          <a:fontRef idx="minor">
            <a:schemeClr val="tx1"/>
          </a:fontRef>
        </p:style>
      </p:cxnSp>
      <p:cxnSp>
        <p:nvCxnSpPr>
          <p:cNvPr id="8" name="直接连接符 7"/>
          <p:cNvCxnSpPr/>
          <p:nvPr userDrawn="1"/>
        </p:nvCxnSpPr>
        <p:spPr>
          <a:xfrm>
            <a:off x="37564" y="943619"/>
            <a:ext cx="1391186" cy="157569"/>
          </a:xfrm>
          <a:prstGeom prst="line">
            <a:avLst/>
          </a:prstGeom>
          <a:ln w="92075"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9" name="直接连接符 8"/>
          <p:cNvCxnSpPr/>
          <p:nvPr userDrawn="1"/>
        </p:nvCxnSpPr>
        <p:spPr>
          <a:xfrm>
            <a:off x="37564" y="2122472"/>
            <a:ext cx="1958876" cy="247348"/>
          </a:xfrm>
          <a:prstGeom prst="line">
            <a:avLst/>
          </a:prstGeom>
          <a:ln w="92075" cap="sq">
            <a:solidFill>
              <a:schemeClr val="accent2"/>
            </a:solidFill>
            <a:miter lim="800000"/>
          </a:ln>
        </p:spPr>
        <p:style>
          <a:lnRef idx="1">
            <a:schemeClr val="accent1"/>
          </a:lnRef>
          <a:fillRef idx="0">
            <a:schemeClr val="accent1"/>
          </a:fillRef>
          <a:effectRef idx="0">
            <a:schemeClr val="accent1"/>
          </a:effectRef>
          <a:fontRef idx="minor">
            <a:schemeClr val="tx1"/>
          </a:fontRef>
        </p:style>
      </p:cxnSp>
      <p:sp>
        <p:nvSpPr>
          <p:cNvPr id="11" name="平行四边形 10"/>
          <p:cNvSpPr/>
          <p:nvPr/>
        </p:nvSpPr>
        <p:spPr>
          <a:xfrm rot="16200000">
            <a:off x="4198507" y="-1386360"/>
            <a:ext cx="3794987" cy="12192001"/>
          </a:xfrm>
          <a:prstGeom prst="parallelogram">
            <a:avLst>
              <a:gd name="adj" fmla="val 37141"/>
            </a:avLst>
          </a:prstGeom>
          <a:blipFill dpi="0" rotWithShape="0">
            <a:blip r:embed="rId2"/>
            <a:srcRect/>
            <a:stretch>
              <a:fillRect l="-25199" t="-110643" r="-24801" b="-11064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0" name="标题 1"/>
          <p:cNvSpPr>
            <a:spLocks noGrp="1"/>
          </p:cNvSpPr>
          <p:nvPr userDrawn="1">
            <p:ph type="title"/>
          </p:nvPr>
        </p:nvSpPr>
        <p:spPr>
          <a:xfrm>
            <a:off x="2694979" y="1631345"/>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
          <p:cNvSpPr>
            <a:spLocks noGrp="1"/>
          </p:cNvSpPr>
          <p:nvPr userDrawn="1">
            <p:ph type="body" idx="1" hasCustomPrompt="1"/>
          </p:nvPr>
        </p:nvSpPr>
        <p:spPr>
          <a:xfrm>
            <a:off x="2696095" y="2526695"/>
            <a:ext cx="5419185" cy="1015623"/>
          </a:xfrm>
        </p:spPr>
        <p:txBody>
          <a:bodyPr anchor="t">
            <a:normAutofit/>
          </a:bodyPr>
          <a:lstStyle>
            <a:lvl1pPr marL="0" indent="0" algn="l">
              <a:lnSpc>
                <a:spcPct val="100000"/>
              </a:lnSpc>
              <a:buNone/>
              <a:defRPr sz="11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6489D9C7-5DC6-4263-87FF-7C99F6FB63C3}" type="datetime1">
              <a:rPr lang="zh-CN" altLang="en-US" smtClean="0"/>
              <a:t>2020/7/19</a:t>
            </a:fld>
            <a:endParaRPr lang="zh-CN" altLang="en-US"/>
          </a:p>
        </p:txBody>
      </p:sp>
      <p:sp>
        <p:nvSpPr>
          <p:cNvPr id="5" name="灯片编号占位符 4"/>
          <p:cNvSpPr>
            <a:spLocks noGrp="1"/>
          </p:cNvSpPr>
          <p:nvPr>
            <p:ph type="sldNum" sz="quarter" idx="12"/>
          </p:nvPr>
        </p:nvSpPr>
        <p:spPr/>
        <p:txBody>
          <a:bodyPr/>
          <a:lstStyle/>
          <a:p>
            <a:fld id="{5DD3DB80-B894-403A-B48E-6FDC1A72010E}" type="slidenum">
              <a:rPr lang="zh-CN" altLang="en-US" smtClean="0"/>
              <a:t>‹N°›</a:t>
            </a:fld>
            <a:endParaRPr lang="zh-CN" altLang="en-US"/>
          </a:p>
        </p:txBody>
      </p:sp>
      <p:sp>
        <p:nvSpPr>
          <p:cNvPr id="6" name="标题 5"/>
          <p:cNvSpPr>
            <a:spLocks noGrp="1"/>
          </p:cNvSpPr>
          <p:nvPr>
            <p:ph type="title"/>
          </p:nvPr>
        </p:nvSpPr>
        <p:spPr/>
        <p:txBody>
          <a:bodyPr/>
          <a:lstStyle>
            <a:lvl1pPr>
              <a:defRPr/>
            </a:lvl1pPr>
          </a:lstStyle>
          <a:p>
            <a:r>
              <a:rPr lang="en-US" altLang="zh-CN" dirty="0"/>
              <a:t>Click to edit Master title style</a:t>
            </a:r>
            <a:endParaRPr lang="zh-CN" altLang="en-US" dirty="0"/>
          </a:p>
        </p:txBody>
      </p:sp>
      <p:sp>
        <p:nvSpPr>
          <p:cNvPr id="8" name="内容占位符 7"/>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dirty="0"/>
              <a:t>Click to edit Master title style</a:t>
            </a:r>
            <a:endParaRPr lang="en-US" dirty="0"/>
          </a:p>
        </p:txBody>
      </p:sp>
      <p:sp>
        <p:nvSpPr>
          <p:cNvPr id="3" name="Date Placeholder 2"/>
          <p:cNvSpPr>
            <a:spLocks noGrp="1"/>
          </p:cNvSpPr>
          <p:nvPr>
            <p:ph type="dt" sz="half" idx="10"/>
          </p:nvPr>
        </p:nvSpPr>
        <p:spPr/>
        <p:txBody>
          <a:bodyPr/>
          <a:lstStyle/>
          <a:p>
            <a:fld id="{6489D9C7-5DC6-4263-87FF-7C99F6FB63C3}" type="datetime1">
              <a:rPr lang="zh-CN" altLang="en-US" smtClean="0"/>
              <a:t>2020/7/19</a:t>
            </a:fld>
            <a:endParaRPr lang="zh-CN" altLang="en-US"/>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t>‹N°›</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bg>
      <p:bgPr>
        <a:solidFill>
          <a:schemeClr val="accent1"/>
        </a:solidFill>
        <a:effectLst/>
      </p:bgPr>
    </p:bg>
    <p:spTree>
      <p:nvGrpSpPr>
        <p:cNvPr id="1" name=""/>
        <p:cNvGrpSpPr/>
        <p:nvPr/>
      </p:nvGrpSpPr>
      <p:grpSpPr>
        <a:xfrm>
          <a:off x="0" y="0"/>
          <a:ext cx="0" cy="0"/>
          <a:chOff x="0" y="0"/>
          <a:chExt cx="0" cy="0"/>
        </a:xfrm>
      </p:grpSpPr>
      <p:sp>
        <p:nvSpPr>
          <p:cNvPr id="7" name="平行四边形 6"/>
          <p:cNvSpPr/>
          <p:nvPr/>
        </p:nvSpPr>
        <p:spPr>
          <a:xfrm rot="16200000">
            <a:off x="4198507" y="-1622123"/>
            <a:ext cx="3794987" cy="12192001"/>
          </a:xfrm>
          <a:prstGeom prst="parallelogram">
            <a:avLst>
              <a:gd name="adj" fmla="val 37141"/>
            </a:avLst>
          </a:prstGeom>
          <a:blipFill dpi="0" rotWithShape="0">
            <a:blip r:embed="rId2"/>
            <a:srcRect/>
            <a:stretch>
              <a:fillRect l="-39134" t="-110643" r="-38644" b="-11064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cxnSp>
        <p:nvCxnSpPr>
          <p:cNvPr id="9" name="直接连接符 8"/>
          <p:cNvCxnSpPr/>
          <p:nvPr userDrawn="1"/>
        </p:nvCxnSpPr>
        <p:spPr>
          <a:xfrm>
            <a:off x="37564" y="943619"/>
            <a:ext cx="1391186" cy="157569"/>
          </a:xfrm>
          <a:prstGeom prst="line">
            <a:avLst/>
          </a:prstGeom>
          <a:ln w="92075" cap="sq">
            <a:solidFill>
              <a:schemeClr val="bg1">
                <a:alpha val="3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0" name="直接连接符 9"/>
          <p:cNvCxnSpPr/>
          <p:nvPr userDrawn="1"/>
        </p:nvCxnSpPr>
        <p:spPr>
          <a:xfrm>
            <a:off x="6906970" y="6063285"/>
            <a:ext cx="5242840" cy="616172"/>
          </a:xfrm>
          <a:prstGeom prst="line">
            <a:avLst/>
          </a:prstGeom>
          <a:ln w="88900" cap="sq">
            <a:solidFill>
              <a:schemeClr val="bg1">
                <a:alpha val="3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1" name="直接连接符 10"/>
          <p:cNvCxnSpPr/>
          <p:nvPr userDrawn="1"/>
        </p:nvCxnSpPr>
        <p:spPr>
          <a:xfrm>
            <a:off x="9448800" y="4116678"/>
            <a:ext cx="2705638" cy="317984"/>
          </a:xfrm>
          <a:prstGeom prst="line">
            <a:avLst/>
          </a:prstGeom>
          <a:ln w="88900" cap="sq">
            <a:solidFill>
              <a:srgbClr val="172A40"/>
            </a:solidFill>
            <a:miter lim="800000"/>
          </a:ln>
        </p:spPr>
        <p:style>
          <a:lnRef idx="1">
            <a:schemeClr val="accent1"/>
          </a:lnRef>
          <a:fillRef idx="0">
            <a:schemeClr val="accent1"/>
          </a:fillRef>
          <a:effectRef idx="0">
            <a:schemeClr val="accent1"/>
          </a:effectRef>
          <a:fontRef idx="minor">
            <a:schemeClr val="tx1"/>
          </a:fontRef>
        </p:style>
      </p:cxnSp>
      <p:cxnSp>
        <p:nvCxnSpPr>
          <p:cNvPr id="12" name="直接连接符 11"/>
          <p:cNvCxnSpPr/>
          <p:nvPr userDrawn="1"/>
        </p:nvCxnSpPr>
        <p:spPr>
          <a:xfrm>
            <a:off x="11053120" y="3711108"/>
            <a:ext cx="1101318" cy="129434"/>
          </a:xfrm>
          <a:prstGeom prst="line">
            <a:avLst/>
          </a:prstGeom>
          <a:ln w="50800" cap="sq">
            <a:solidFill>
              <a:schemeClr val="bg1">
                <a:alpha val="30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4" name="直接连接符 13"/>
          <p:cNvCxnSpPr/>
          <p:nvPr userDrawn="1"/>
        </p:nvCxnSpPr>
        <p:spPr>
          <a:xfrm>
            <a:off x="8763000" y="3166137"/>
            <a:ext cx="3391438" cy="398584"/>
          </a:xfrm>
          <a:prstGeom prst="line">
            <a:avLst/>
          </a:prstGeom>
          <a:ln w="92075" cap="sq">
            <a:solidFill>
              <a:schemeClr val="bg1">
                <a:alpha val="30000"/>
              </a:schemeClr>
            </a:solidFill>
            <a:miter lim="800000"/>
          </a:ln>
        </p:spPr>
        <p:style>
          <a:lnRef idx="1">
            <a:schemeClr val="accent1"/>
          </a:lnRef>
          <a:fillRef idx="0">
            <a:schemeClr val="accent1"/>
          </a:fillRef>
          <a:effectRef idx="0">
            <a:schemeClr val="accent1"/>
          </a:effectRef>
          <a:fontRef idx="minor">
            <a:schemeClr val="tx1"/>
          </a:fontRef>
        </p:style>
      </p:cxnSp>
      <p:sp>
        <p:nvSpPr>
          <p:cNvPr id="13" name="标题 1"/>
          <p:cNvSpPr>
            <a:spLocks noGrp="1"/>
          </p:cNvSpPr>
          <p:nvPr userDrawn="1">
            <p:ph type="ctrTitle"/>
          </p:nvPr>
        </p:nvSpPr>
        <p:spPr>
          <a:xfrm>
            <a:off x="1804476" y="1095300"/>
            <a:ext cx="4470400" cy="1332948"/>
          </a:xfrm>
        </p:spPr>
        <p:txBody>
          <a:bodyPr anchor="b">
            <a:normAutofit/>
          </a:bodyPr>
          <a:lstStyle>
            <a:lvl1pPr marL="0" indent="0" algn="l">
              <a:buFont typeface="Arial" charset="0"/>
              <a:buNone/>
              <a:defRPr sz="3600">
                <a:solidFill>
                  <a:schemeClr val="bg1"/>
                </a:solidFill>
              </a:defRPr>
            </a:lvl1pPr>
          </a:lstStyle>
          <a:p>
            <a:r>
              <a:rPr lang="en-US" altLang="zh-CN" dirty="0"/>
              <a:t>Conclusion</a:t>
            </a:r>
            <a:endParaRPr lang="zh-CN" altLang="en-US" dirty="0"/>
          </a:p>
        </p:txBody>
      </p:sp>
    </p:spTree>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6489D9C7-5DC6-4263-87FF-7C99F6FB63C3}" type="datetime1">
              <a:rPr lang="zh-CN" altLang="en-US" smtClean="0"/>
              <a:t>2020/7/19</a:t>
            </a:fld>
            <a:endParaRPr lang="zh-CN" altLang="en-US"/>
          </a:p>
        </p:txBody>
      </p:sp>
      <p:sp>
        <p:nvSpPr>
          <p:cNvPr id="10" name="灯片编号占位符 5"/>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t>‹N°›</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hf hdr="0" dt="0"/>
  <p:txStyles>
    <p:titleStyle>
      <a:lvl1pPr algn="l" defTabSz="913765"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3765" rtl="0" eaLnBrk="1" latinLnBrk="0" hangingPunct="1">
        <a:lnSpc>
          <a:spcPct val="90000"/>
        </a:lnSpc>
        <a:spcBef>
          <a:spcPts val="1000"/>
        </a:spcBef>
        <a:buFont typeface="Arial" charset="0"/>
        <a:buChar char="•"/>
        <a:defRPr sz="1800" kern="1200">
          <a:solidFill>
            <a:schemeClr val="tx1"/>
          </a:solidFill>
          <a:latin typeface="+mn-lt"/>
          <a:ea typeface="+mn-ea"/>
          <a:cs typeface="+mn-cs"/>
        </a:defRPr>
      </a:lvl1pPr>
      <a:lvl2pPr marL="685800" indent="-228600" algn="l" defTabSz="913765" rtl="0" eaLnBrk="1" latinLnBrk="0" hangingPunct="1">
        <a:lnSpc>
          <a:spcPct val="90000"/>
        </a:lnSpc>
        <a:spcBef>
          <a:spcPts val="500"/>
        </a:spcBef>
        <a:buFont typeface="Arial" charset="0"/>
        <a:buChar char="•"/>
        <a:defRPr sz="1600" kern="1200">
          <a:solidFill>
            <a:schemeClr val="tx1"/>
          </a:solidFill>
          <a:latin typeface="+mn-lt"/>
          <a:ea typeface="+mn-ea"/>
          <a:cs typeface="+mn-cs"/>
        </a:defRPr>
      </a:lvl2pPr>
      <a:lvl3pPr marL="1143000" indent="-228600" algn="l" defTabSz="913765" rtl="0" eaLnBrk="1" latinLnBrk="0" hangingPunct="1">
        <a:lnSpc>
          <a:spcPct val="90000"/>
        </a:lnSpc>
        <a:spcBef>
          <a:spcPts val="500"/>
        </a:spcBef>
        <a:buFont typeface="Arial" charset="0"/>
        <a:buChar char="•"/>
        <a:defRPr sz="1400" kern="1200">
          <a:solidFill>
            <a:schemeClr val="tx1"/>
          </a:solidFill>
          <a:latin typeface="+mn-lt"/>
          <a:ea typeface="+mn-ea"/>
          <a:cs typeface="+mn-cs"/>
        </a:defRPr>
      </a:lvl3pPr>
      <a:lvl4pPr marL="1600200" indent="-228600" algn="l" defTabSz="913765" rtl="0" eaLnBrk="1" latinLnBrk="0" hangingPunct="1">
        <a:lnSpc>
          <a:spcPct val="90000"/>
        </a:lnSpc>
        <a:spcBef>
          <a:spcPts val="500"/>
        </a:spcBef>
        <a:buFont typeface="Arial" charset="0"/>
        <a:buChar char="•"/>
        <a:defRPr sz="1200" kern="1200">
          <a:solidFill>
            <a:schemeClr val="tx1"/>
          </a:solidFill>
          <a:latin typeface="+mn-lt"/>
          <a:ea typeface="+mn-ea"/>
          <a:cs typeface="+mn-cs"/>
        </a:defRPr>
      </a:lvl4pPr>
      <a:lvl5pPr marL="2057400" indent="-228600" algn="l" defTabSz="913765" rtl="0" eaLnBrk="1" latinLnBrk="0" hangingPunct="1">
        <a:lnSpc>
          <a:spcPct val="90000"/>
        </a:lnSpc>
        <a:spcBef>
          <a:spcPts val="500"/>
        </a:spcBef>
        <a:buFont typeface="Arial" charset="0"/>
        <a:buChar char="•"/>
        <a:defRPr sz="1200" kern="1200">
          <a:solidFill>
            <a:schemeClr val="tx1"/>
          </a:solidFill>
          <a:latin typeface="+mn-lt"/>
          <a:ea typeface="+mn-ea"/>
          <a:cs typeface="+mn-cs"/>
        </a:defRPr>
      </a:lvl5pPr>
      <a:lvl6pPr marL="2514600" indent="-228600" algn="l" defTabSz="913765" rtl="0" eaLnBrk="1" latinLnBrk="0" hangingPunct="1">
        <a:lnSpc>
          <a:spcPct val="90000"/>
        </a:lnSpc>
        <a:spcBef>
          <a:spcPts val="500"/>
        </a:spcBef>
        <a:buFont typeface="Arial"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xml"/><Relationship Id="rId7" Type="http://schemas.openxmlformats.org/officeDocument/2006/relationships/oleObject" Target="NULL"/><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9.jpeg"/><Relationship Id="rId5" Type="http://schemas.openxmlformats.org/officeDocument/2006/relationships/image" Target="../media/image8.jpeg"/><Relationship Id="rId4" Type="http://schemas.openxmlformats.org/officeDocument/2006/relationships/image" Target="../media/image7.jpeg"/></Relationships>
</file>

<file path=ppt/slides/_rels/slide1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7.xml"/><Relationship Id="rId7" Type="http://schemas.openxmlformats.org/officeDocument/2006/relationships/oleObject" Target="NULL"/><Relationship Id="rId2" Type="http://schemas.openxmlformats.org/officeDocument/2006/relationships/vmlDrawing" Target="../drawings/vmlDrawing2.vml"/><Relationship Id="rId1" Type="http://schemas.openxmlformats.org/officeDocument/2006/relationships/themeOverride" Target="../theme/themeOverride3.xml"/><Relationship Id="rId6" Type="http://schemas.openxmlformats.org/officeDocument/2006/relationships/notesSlide" Target="../notesSlides/notesSlide12.xml"/><Relationship Id="rId5" Type="http://schemas.openxmlformats.org/officeDocument/2006/relationships/slideLayout" Target="../slideLayouts/slideLayout6.xml"/><Relationship Id="rId4" Type="http://schemas.openxmlformats.org/officeDocument/2006/relationships/tags" Target="../tags/tag8.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xml"/><Relationship Id="rId1" Type="http://schemas.openxmlformats.org/officeDocument/2006/relationships/tags" Target="../tags/tag3.xml"/><Relationship Id="rId4" Type="http://schemas.openxmlformats.org/officeDocument/2006/relationships/image" Target="../media/image4.jpe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hemeOverride" Target="../theme/themeOverride2.xml"/></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xml"/><Relationship Id="rId1" Type="http://schemas.openxmlformats.org/officeDocument/2006/relationships/tags" Target="../tags/tag4.xml"/></Relationships>
</file>

<file path=ppt/slides/_rels/slide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89" name="think-cell Slide" r:id="rId7" imgW="0" imgH="0" progId="TCLayout.ActiveDocument.1">
                  <p:embed/>
                </p:oleObj>
              </mc:Choice>
              <mc:Fallback>
                <p:oleObj name="think-cell Slide" r:id="rId7" imgW="0" imgH="0" progId="TCLayout.ActiveDocument.1">
                  <p:embed/>
                  <p:pic>
                    <p:nvPicPr>
                      <p:cNvPr id="0" name="对象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charset="0"/>
              <a:ea typeface="微软雅黑" pitchFamily="34" charset="-122"/>
              <a:cs typeface="+mj-cs"/>
              <a:sym typeface="Arial" charset="0"/>
            </a:endParaRPr>
          </a:p>
        </p:txBody>
      </p:sp>
      <p:sp>
        <p:nvSpPr>
          <p:cNvPr id="4" name="标题 3"/>
          <p:cNvSpPr>
            <a:spLocks noGrp="1"/>
          </p:cNvSpPr>
          <p:nvPr>
            <p:ph type="ctrTitle"/>
          </p:nvPr>
        </p:nvSpPr>
        <p:spPr>
          <a:xfrm>
            <a:off x="2403565" y="1130300"/>
            <a:ext cx="7384867" cy="1442693"/>
          </a:xfrm>
        </p:spPr>
        <p:txBody>
          <a:bodyPr>
            <a:normAutofit fontScale="90000"/>
          </a:bodyPr>
          <a:lstStyle/>
          <a:p>
            <a:r>
              <a:rPr lang="fr-FR" altLang="zh-CN" sz="4400" dirty="0">
                <a:effectLst>
                  <a:outerShdw blurRad="38100" dist="38100" dir="2700000" algn="tl">
                    <a:srgbClr val="000000">
                      <a:alpha val="43137"/>
                    </a:srgbClr>
                  </a:outerShdw>
                </a:effectLst>
              </a:rPr>
              <a:t/>
            </a:r>
            <a:br>
              <a:rPr lang="fr-FR" altLang="zh-CN" sz="4400" dirty="0">
                <a:effectLst>
                  <a:outerShdw blurRad="38100" dist="38100" dir="2700000" algn="tl">
                    <a:srgbClr val="000000">
                      <a:alpha val="43137"/>
                    </a:srgbClr>
                  </a:outerShdw>
                </a:effectLst>
              </a:rPr>
            </a:br>
            <a:r>
              <a:rPr lang="fr-FR" altLang="zh-CN" sz="4400" dirty="0">
                <a:effectLst>
                  <a:outerShdw blurRad="38100" dist="38100" dir="2700000" algn="tl">
                    <a:srgbClr val="000000">
                      <a:alpha val="43137"/>
                    </a:srgbClr>
                  </a:outerShdw>
                </a:effectLst>
              </a:rPr>
              <a:t>Pratique et réflexion sur l'évaluation des nouvelles technologies médicales à </a:t>
            </a:r>
            <a:r>
              <a:rPr lang="fr-FR" altLang="zh-CN" sz="4400" dirty="0" smtClean="0">
                <a:effectLst>
                  <a:outerShdw blurRad="38100" dist="38100" dir="2700000" algn="tl">
                    <a:srgbClr val="000000">
                      <a:alpha val="43137"/>
                    </a:srgbClr>
                  </a:outerShdw>
                </a:effectLst>
              </a:rPr>
              <a:t>Shanghai</a:t>
            </a:r>
            <a:endParaRPr lang="zh-CN" altLang="en-US" sz="4400" dirty="0">
              <a:effectLst>
                <a:outerShdw blurRad="38100" dist="38100" dir="2700000" algn="tl">
                  <a:srgbClr val="000000">
                    <a:alpha val="43137"/>
                  </a:srgbClr>
                </a:outerShdw>
              </a:effectLst>
            </a:endParaRPr>
          </a:p>
        </p:txBody>
      </p:sp>
      <p:sp>
        <p:nvSpPr>
          <p:cNvPr id="5" name="副标题 4"/>
          <p:cNvSpPr>
            <a:spLocks noGrp="1"/>
          </p:cNvSpPr>
          <p:nvPr>
            <p:ph type="subTitle" idx="1"/>
          </p:nvPr>
        </p:nvSpPr>
        <p:spPr>
          <a:xfrm>
            <a:off x="3501959" y="4943109"/>
            <a:ext cx="5188078" cy="1442694"/>
          </a:xfrm>
        </p:spPr>
        <p:txBody>
          <a:bodyPr>
            <a:normAutofit fontScale="85000" lnSpcReduction="20000"/>
          </a:bodyPr>
          <a:lstStyle/>
          <a:p>
            <a:pPr algn="ctr"/>
            <a:endParaRPr lang="en-US" altLang="zh-CN" sz="1600" b="1" dirty="0">
              <a:effectLst>
                <a:outerShdw blurRad="38100" dist="38100" dir="2700000" algn="tl">
                  <a:srgbClr val="000000">
                    <a:alpha val="43137"/>
                  </a:srgbClr>
                </a:outerShdw>
              </a:effectLst>
              <a:latin typeface="华文楷体" pitchFamily="2" charset="-122"/>
              <a:ea typeface="华文楷体" pitchFamily="2" charset="-122"/>
            </a:endParaRPr>
          </a:p>
          <a:p>
            <a:pPr algn="ctr"/>
            <a:r>
              <a:rPr lang="fr-FR" altLang="zh-CN" sz="2200" b="1" dirty="0" smtClean="0">
                <a:effectLst>
                  <a:outerShdw blurRad="38100" dist="38100" dir="2700000" algn="tl">
                    <a:srgbClr val="000000">
                      <a:alpha val="43137"/>
                    </a:srgbClr>
                  </a:outerShdw>
                </a:effectLst>
                <a:latin typeface="华文楷体" pitchFamily="2" charset="-122"/>
                <a:ea typeface="华文楷体" pitchFamily="2" charset="-122"/>
              </a:rPr>
              <a:t>Qin </a:t>
            </a:r>
            <a:r>
              <a:rPr lang="fr-FR" altLang="zh-CN" sz="2200" b="1" dirty="0">
                <a:effectLst>
                  <a:outerShdw blurRad="38100" dist="38100" dir="2700000" algn="tl">
                    <a:srgbClr val="000000">
                      <a:alpha val="43137"/>
                    </a:srgbClr>
                  </a:outerShdw>
                </a:effectLst>
                <a:latin typeface="华文楷体" pitchFamily="2" charset="-122"/>
                <a:ea typeface="华文楷体" pitchFamily="2" charset="-122"/>
              </a:rPr>
              <a:t>Jing</a:t>
            </a:r>
          </a:p>
          <a:p>
            <a:pPr algn="ctr"/>
            <a:r>
              <a:rPr lang="fr-FR" altLang="zh-CN" sz="2200" b="1" dirty="0">
                <a:effectLst>
                  <a:outerShdw blurRad="38100" dist="38100" dir="2700000" algn="tl">
                    <a:srgbClr val="000000">
                      <a:alpha val="43137"/>
                    </a:srgbClr>
                  </a:outerShdw>
                </a:effectLst>
                <a:latin typeface="华文楷体" pitchFamily="2" charset="-122"/>
                <a:ea typeface="华文楷体" pitchFamily="2" charset="-122"/>
              </a:rPr>
              <a:t>Commission de la santé municipale de Shanghai</a:t>
            </a:r>
          </a:p>
          <a:p>
            <a:pPr algn="ctr"/>
            <a:r>
              <a:rPr lang="fr-FR" altLang="zh-CN" sz="2200" b="1" dirty="0">
                <a:effectLst>
                  <a:outerShdw blurRad="38100" dist="38100" dir="2700000" algn="tl">
                    <a:srgbClr val="000000">
                      <a:alpha val="43137"/>
                    </a:srgbClr>
                  </a:outerShdw>
                </a:effectLst>
                <a:latin typeface="华文楷体" pitchFamily="2" charset="-122"/>
                <a:ea typeface="华文楷体" pitchFamily="2" charset="-122"/>
              </a:rPr>
              <a:t>Juillet 2020</a:t>
            </a:r>
            <a:endParaRPr lang="en-US" altLang="zh-CN" sz="2200" b="1" dirty="0">
              <a:effectLst>
                <a:outerShdw blurRad="38100" dist="38100" dir="2700000" algn="tl">
                  <a:srgbClr val="000000">
                    <a:alpha val="43137"/>
                  </a:srgbClr>
                </a:outerShdw>
              </a:effectLst>
              <a:latin typeface="华文楷体" pitchFamily="2" charset="-122"/>
              <a:ea typeface="华文楷体" pitchFamily="2" charset="-122"/>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a:defRPr/>
            </a:pPr>
            <a:r>
              <a:rPr lang="fr-FR" altLang="zh-CN" dirty="0" smtClean="0"/>
              <a:t/>
            </a:r>
            <a:br>
              <a:rPr lang="fr-FR" altLang="zh-CN" dirty="0" smtClean="0"/>
            </a:br>
            <a:r>
              <a:rPr lang="fr-FR" altLang="zh-CN" dirty="0" smtClean="0"/>
              <a:t>Processus </a:t>
            </a:r>
            <a:r>
              <a:rPr lang="fr-FR" altLang="zh-CN" dirty="0"/>
              <a:t>de dépôt restreint de technologie médicale</a:t>
            </a:r>
            <a:endParaRPr lang="en-US" altLang="zh-CN"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t>10</a:t>
            </a:fld>
            <a:endParaRPr lang="zh-CN" altLang="en-US" dirty="0"/>
          </a:p>
        </p:txBody>
      </p:sp>
      <p:sp>
        <p:nvSpPr>
          <p:cNvPr id="26" name="îşļîḓe"/>
          <p:cNvSpPr/>
          <p:nvPr/>
        </p:nvSpPr>
        <p:spPr>
          <a:xfrm rot="16200000">
            <a:off x="5626613" y="-1202079"/>
            <a:ext cx="603786" cy="8353404"/>
          </a:xfrm>
          <a:prstGeom prst="rightBracket">
            <a:avLst>
              <a:gd name="adj" fmla="val 125234"/>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wrap="square" lIns="91440" tIns="45720" rIns="91440" bIns="45720" anchor="ctr">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endParaRPr/>
          </a:p>
        </p:txBody>
      </p:sp>
      <p:sp>
        <p:nvSpPr>
          <p:cNvPr id="49" name="îŝļíḑé"/>
          <p:cNvSpPr/>
          <p:nvPr/>
        </p:nvSpPr>
        <p:spPr>
          <a:xfrm>
            <a:off x="4160709" y="1646550"/>
            <a:ext cx="3535594" cy="779443"/>
          </a:xfrm>
          <a:prstGeom prst="roundRect">
            <a:avLst>
              <a:gd name="adj" fmla="val 7439"/>
            </a:avLst>
          </a:prstGeom>
          <a:solidFill>
            <a:schemeClr val="bg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85000" lnSpcReduction="10000"/>
          </a:bodyPr>
          <a:lstStyle>
            <a:defPPr>
              <a:defRPr lang="zh-CN"/>
            </a:defPPr>
            <a:lvl1pPr marL="0" algn="l" defTabSz="913765" rtl="0" eaLnBrk="1" latinLnBrk="0" hangingPunct="1">
              <a:defRPr sz="1800" kern="1200">
                <a:solidFill>
                  <a:schemeClr val="lt1"/>
                </a:solidFill>
              </a:defRPr>
            </a:lvl1pPr>
            <a:lvl2pPr marL="457200" algn="l" defTabSz="913765" rtl="0" eaLnBrk="1" latinLnBrk="0" hangingPunct="1">
              <a:defRPr sz="1800" kern="1200">
                <a:solidFill>
                  <a:schemeClr val="lt1"/>
                </a:solidFill>
              </a:defRPr>
            </a:lvl2pPr>
            <a:lvl3pPr marL="914400" algn="l" defTabSz="913765" rtl="0" eaLnBrk="1" latinLnBrk="0" hangingPunct="1">
              <a:defRPr sz="1800" kern="1200">
                <a:solidFill>
                  <a:schemeClr val="lt1"/>
                </a:solidFill>
              </a:defRPr>
            </a:lvl3pPr>
            <a:lvl4pPr marL="1371600" algn="l" defTabSz="913765" rtl="0" eaLnBrk="1" latinLnBrk="0" hangingPunct="1">
              <a:defRPr sz="1800" kern="1200">
                <a:solidFill>
                  <a:schemeClr val="lt1"/>
                </a:solidFill>
              </a:defRPr>
            </a:lvl4pPr>
            <a:lvl5pPr marL="1828800" algn="l" defTabSz="913765" rtl="0" eaLnBrk="1" latinLnBrk="0" hangingPunct="1">
              <a:defRPr sz="1800" kern="1200">
                <a:solidFill>
                  <a:schemeClr val="lt1"/>
                </a:solidFill>
              </a:defRPr>
            </a:lvl5pPr>
            <a:lvl6pPr marL="2286000" algn="l" defTabSz="913765" rtl="0" eaLnBrk="1" latinLnBrk="0" hangingPunct="1">
              <a:defRPr sz="1800" kern="1200">
                <a:solidFill>
                  <a:schemeClr val="lt1"/>
                </a:solidFill>
              </a:defRPr>
            </a:lvl6pPr>
            <a:lvl7pPr marL="2743200" algn="l" defTabSz="913765" rtl="0" eaLnBrk="1" latinLnBrk="0" hangingPunct="1">
              <a:defRPr sz="1800" kern="1200">
                <a:solidFill>
                  <a:schemeClr val="lt1"/>
                </a:solidFill>
              </a:defRPr>
            </a:lvl7pPr>
            <a:lvl8pPr marL="3200400" algn="l" defTabSz="913765" rtl="0" eaLnBrk="1" latinLnBrk="0" hangingPunct="1">
              <a:defRPr sz="1800" kern="1200">
                <a:solidFill>
                  <a:schemeClr val="lt1"/>
                </a:solidFill>
              </a:defRPr>
            </a:lvl8pPr>
            <a:lvl9pPr marL="3657600" algn="l" defTabSz="913765" rtl="0" eaLnBrk="1" latinLnBrk="0" hangingPunct="1">
              <a:defRPr sz="1800" kern="1200">
                <a:solidFill>
                  <a:schemeClr val="lt1"/>
                </a:solidFill>
              </a:defRPr>
            </a:lvl9pPr>
          </a:lstStyle>
          <a:p>
            <a:pPr algn="ctr"/>
            <a:r>
              <a:rPr lang="fr-FR" altLang="zh-CN" sz="2000" b="1" dirty="0" smtClean="0">
                <a:solidFill>
                  <a:schemeClr val="accent1">
                    <a:lumMod val="75000"/>
                  </a:schemeClr>
                </a:solidFill>
                <a:latin typeface="微软雅黑" pitchFamily="34" charset="-122"/>
                <a:ea typeface="微软雅黑" pitchFamily="34" charset="-122"/>
              </a:rPr>
              <a:t>Processus </a:t>
            </a:r>
            <a:r>
              <a:rPr lang="fr-FR" altLang="zh-CN" sz="2000" b="1" dirty="0">
                <a:solidFill>
                  <a:schemeClr val="accent1">
                    <a:lumMod val="75000"/>
                  </a:schemeClr>
                </a:solidFill>
                <a:latin typeface="微软雅黑" pitchFamily="34" charset="-122"/>
                <a:ea typeface="微软雅黑" pitchFamily="34" charset="-122"/>
              </a:rPr>
              <a:t>de dépôt restreint de technologie médicale</a:t>
            </a:r>
            <a:endParaRPr lang="id-ID" altLang="zh-CN" sz="2000" b="1" dirty="0">
              <a:solidFill>
                <a:schemeClr val="accent1">
                  <a:lumMod val="75000"/>
                </a:schemeClr>
              </a:solidFill>
              <a:latin typeface="微软雅黑" pitchFamily="34" charset="-122"/>
              <a:ea typeface="微软雅黑" pitchFamily="34" charset="-122"/>
            </a:endParaRPr>
          </a:p>
        </p:txBody>
      </p:sp>
      <p:grpSp>
        <p:nvGrpSpPr>
          <p:cNvPr id="50" name="îSļïḍê"/>
          <p:cNvGrpSpPr/>
          <p:nvPr/>
        </p:nvGrpSpPr>
        <p:grpSpPr>
          <a:xfrm>
            <a:off x="1376240" y="3276516"/>
            <a:ext cx="751129" cy="692200"/>
            <a:chOff x="1891895" y="4312982"/>
            <a:chExt cx="692634" cy="692200"/>
          </a:xfrm>
        </p:grpSpPr>
        <p:sp>
          <p:nvSpPr>
            <p:cNvPr id="64" name="íşḻîḍê"/>
            <p:cNvSpPr/>
            <p:nvPr/>
          </p:nvSpPr>
          <p:spPr>
            <a:xfrm>
              <a:off x="1891895" y="4312982"/>
              <a:ext cx="692634" cy="692200"/>
            </a:xfrm>
            <a:prstGeom prst="roundRect">
              <a:avLst>
                <a:gd name="adj" fmla="val 10247"/>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3765" rtl="0" eaLnBrk="1" latinLnBrk="0" hangingPunct="1">
                <a:defRPr sz="1800" kern="1200">
                  <a:solidFill>
                    <a:schemeClr val="lt1"/>
                  </a:solidFill>
                </a:defRPr>
              </a:lvl1pPr>
              <a:lvl2pPr marL="457200" algn="l" defTabSz="913765" rtl="0" eaLnBrk="1" latinLnBrk="0" hangingPunct="1">
                <a:defRPr sz="1800" kern="1200">
                  <a:solidFill>
                    <a:schemeClr val="lt1"/>
                  </a:solidFill>
                </a:defRPr>
              </a:lvl2pPr>
              <a:lvl3pPr marL="914400" algn="l" defTabSz="913765" rtl="0" eaLnBrk="1" latinLnBrk="0" hangingPunct="1">
                <a:defRPr sz="1800" kern="1200">
                  <a:solidFill>
                    <a:schemeClr val="lt1"/>
                  </a:solidFill>
                </a:defRPr>
              </a:lvl3pPr>
              <a:lvl4pPr marL="1371600" algn="l" defTabSz="913765" rtl="0" eaLnBrk="1" latinLnBrk="0" hangingPunct="1">
                <a:defRPr sz="1800" kern="1200">
                  <a:solidFill>
                    <a:schemeClr val="lt1"/>
                  </a:solidFill>
                </a:defRPr>
              </a:lvl4pPr>
              <a:lvl5pPr marL="1828800" algn="l" defTabSz="913765" rtl="0" eaLnBrk="1" latinLnBrk="0" hangingPunct="1">
                <a:defRPr sz="1800" kern="1200">
                  <a:solidFill>
                    <a:schemeClr val="lt1"/>
                  </a:solidFill>
                </a:defRPr>
              </a:lvl5pPr>
              <a:lvl6pPr marL="2286000" algn="l" defTabSz="913765" rtl="0" eaLnBrk="1" latinLnBrk="0" hangingPunct="1">
                <a:defRPr sz="1800" kern="1200">
                  <a:solidFill>
                    <a:schemeClr val="lt1"/>
                  </a:solidFill>
                </a:defRPr>
              </a:lvl6pPr>
              <a:lvl7pPr marL="2743200" algn="l" defTabSz="913765" rtl="0" eaLnBrk="1" latinLnBrk="0" hangingPunct="1">
                <a:defRPr sz="1800" kern="1200">
                  <a:solidFill>
                    <a:schemeClr val="lt1"/>
                  </a:solidFill>
                </a:defRPr>
              </a:lvl7pPr>
              <a:lvl8pPr marL="3200400" algn="l" defTabSz="913765" rtl="0" eaLnBrk="1" latinLnBrk="0" hangingPunct="1">
                <a:defRPr sz="1800" kern="1200">
                  <a:solidFill>
                    <a:schemeClr val="lt1"/>
                  </a:solidFill>
                </a:defRPr>
              </a:lvl8pPr>
              <a:lvl9pPr marL="3657600" algn="l" defTabSz="913765" rtl="0" eaLnBrk="1" latinLnBrk="0" hangingPunct="1">
                <a:defRPr sz="1800" kern="1200">
                  <a:solidFill>
                    <a:schemeClr val="lt1"/>
                  </a:solidFill>
                </a:defRPr>
              </a:lvl9pPr>
            </a:lstStyle>
            <a:p>
              <a:pPr lvl="0" algn="ctr" defTabSz="913765">
                <a:spcBef>
                  <a:spcPct val="0"/>
                </a:spcBef>
                <a:defRPr/>
              </a:pPr>
              <a:endParaRPr lang="zh-CN" altLang="en-US" sz="2400" b="1" dirty="0">
                <a:solidFill>
                  <a:schemeClr val="bg1"/>
                </a:solidFill>
              </a:endParaRPr>
            </a:p>
          </p:txBody>
        </p:sp>
        <p:sp>
          <p:nvSpPr>
            <p:cNvPr id="65" name="îSḷíḋè"/>
            <p:cNvSpPr/>
            <p:nvPr/>
          </p:nvSpPr>
          <p:spPr bwMode="auto">
            <a:xfrm>
              <a:off x="2032213" y="4484998"/>
              <a:ext cx="411998" cy="348168"/>
            </a:xfrm>
            <a:custGeom>
              <a:avLst/>
              <a:gdLst>
                <a:gd name="connsiteX0" fmla="*/ 46038 w 338138"/>
                <a:gd name="connsiteY0" fmla="*/ 261938 h 285751"/>
                <a:gd name="connsiteX1" fmla="*/ 38100 w 338138"/>
                <a:gd name="connsiteY1" fmla="*/ 270670 h 285751"/>
                <a:gd name="connsiteX2" fmla="*/ 46038 w 338138"/>
                <a:gd name="connsiteY2" fmla="*/ 279402 h 285751"/>
                <a:gd name="connsiteX3" fmla="*/ 53976 w 338138"/>
                <a:gd name="connsiteY3" fmla="*/ 270670 h 285751"/>
                <a:gd name="connsiteX4" fmla="*/ 46038 w 338138"/>
                <a:gd name="connsiteY4" fmla="*/ 261938 h 285751"/>
                <a:gd name="connsiteX5" fmla="*/ 288131 w 338138"/>
                <a:gd name="connsiteY5" fmla="*/ 184150 h 285751"/>
                <a:gd name="connsiteX6" fmla="*/ 277812 w 338138"/>
                <a:gd name="connsiteY6" fmla="*/ 194469 h 285751"/>
                <a:gd name="connsiteX7" fmla="*/ 288131 w 338138"/>
                <a:gd name="connsiteY7" fmla="*/ 204788 h 285751"/>
                <a:gd name="connsiteX8" fmla="*/ 298450 w 338138"/>
                <a:gd name="connsiteY8" fmla="*/ 194469 h 285751"/>
                <a:gd name="connsiteX9" fmla="*/ 288131 w 338138"/>
                <a:gd name="connsiteY9" fmla="*/ 184150 h 285751"/>
                <a:gd name="connsiteX10" fmla="*/ 19050 w 338138"/>
                <a:gd name="connsiteY10" fmla="*/ 165100 h 285751"/>
                <a:gd name="connsiteX11" fmla="*/ 19050 w 338138"/>
                <a:gd name="connsiteY11" fmla="*/ 242888 h 285751"/>
                <a:gd name="connsiteX12" fmla="*/ 73025 w 338138"/>
                <a:gd name="connsiteY12" fmla="*/ 242888 h 285751"/>
                <a:gd name="connsiteX13" fmla="*/ 73025 w 338138"/>
                <a:gd name="connsiteY13" fmla="*/ 165100 h 285751"/>
                <a:gd name="connsiteX14" fmla="*/ 12010 w 338138"/>
                <a:gd name="connsiteY14" fmla="*/ 141288 h 285751"/>
                <a:gd name="connsiteX15" fmla="*/ 81400 w 338138"/>
                <a:gd name="connsiteY15" fmla="*/ 141288 h 285751"/>
                <a:gd name="connsiteX16" fmla="*/ 92075 w 338138"/>
                <a:gd name="connsiteY16" fmla="*/ 153107 h 285751"/>
                <a:gd name="connsiteX17" fmla="*/ 92075 w 338138"/>
                <a:gd name="connsiteY17" fmla="*/ 273932 h 285751"/>
                <a:gd name="connsiteX18" fmla="*/ 81400 w 338138"/>
                <a:gd name="connsiteY18" fmla="*/ 285751 h 285751"/>
                <a:gd name="connsiteX19" fmla="*/ 12010 w 338138"/>
                <a:gd name="connsiteY19" fmla="*/ 285751 h 285751"/>
                <a:gd name="connsiteX20" fmla="*/ 0 w 338138"/>
                <a:gd name="connsiteY20" fmla="*/ 273932 h 285751"/>
                <a:gd name="connsiteX21" fmla="*/ 0 w 338138"/>
                <a:gd name="connsiteY21" fmla="*/ 153107 h 285751"/>
                <a:gd name="connsiteX22" fmla="*/ 12010 w 338138"/>
                <a:gd name="connsiteY22" fmla="*/ 141288 h 285751"/>
                <a:gd name="connsiteX23" fmla="*/ 55002 w 338138"/>
                <a:gd name="connsiteY23" fmla="*/ 82550 h 285751"/>
                <a:gd name="connsiteX24" fmla="*/ 175185 w 338138"/>
                <a:gd name="connsiteY24" fmla="*/ 82550 h 285751"/>
                <a:gd name="connsiteX25" fmla="*/ 193675 w 338138"/>
                <a:gd name="connsiteY25" fmla="*/ 99703 h 285751"/>
                <a:gd name="connsiteX26" fmla="*/ 193675 w 338138"/>
                <a:gd name="connsiteY26" fmla="*/ 268597 h 285751"/>
                <a:gd name="connsiteX27" fmla="*/ 175185 w 338138"/>
                <a:gd name="connsiteY27" fmla="*/ 285750 h 285751"/>
                <a:gd name="connsiteX28" fmla="*/ 107830 w 338138"/>
                <a:gd name="connsiteY28" fmla="*/ 285750 h 285751"/>
                <a:gd name="connsiteX29" fmla="*/ 109151 w 338138"/>
                <a:gd name="connsiteY29" fmla="*/ 276514 h 285751"/>
                <a:gd name="connsiteX30" fmla="*/ 109151 w 338138"/>
                <a:gd name="connsiteY30" fmla="*/ 273875 h 285751"/>
                <a:gd name="connsiteX31" fmla="*/ 115754 w 338138"/>
                <a:gd name="connsiteY31" fmla="*/ 275194 h 285751"/>
                <a:gd name="connsiteX32" fmla="*/ 124999 w 338138"/>
                <a:gd name="connsiteY32" fmla="*/ 264639 h 285751"/>
                <a:gd name="connsiteX33" fmla="*/ 115754 w 338138"/>
                <a:gd name="connsiteY33" fmla="*/ 254083 h 285751"/>
                <a:gd name="connsiteX34" fmla="*/ 109151 w 338138"/>
                <a:gd name="connsiteY34" fmla="*/ 256722 h 285751"/>
                <a:gd name="connsiteX35" fmla="*/ 109151 w 338138"/>
                <a:gd name="connsiteY35" fmla="*/ 235610 h 285751"/>
                <a:gd name="connsiteX36" fmla="*/ 168582 w 338138"/>
                <a:gd name="connsiteY36" fmla="*/ 235610 h 285751"/>
                <a:gd name="connsiteX37" fmla="*/ 168582 w 338138"/>
                <a:gd name="connsiteY37" fmla="*/ 110259 h 285751"/>
                <a:gd name="connsiteX38" fmla="*/ 61606 w 338138"/>
                <a:gd name="connsiteY38" fmla="*/ 110259 h 285751"/>
                <a:gd name="connsiteX39" fmla="*/ 61606 w 338138"/>
                <a:gd name="connsiteY39" fmla="*/ 126093 h 285751"/>
                <a:gd name="connsiteX40" fmla="*/ 36512 w 338138"/>
                <a:gd name="connsiteY40" fmla="*/ 126093 h 285751"/>
                <a:gd name="connsiteX41" fmla="*/ 36512 w 338138"/>
                <a:gd name="connsiteY41" fmla="*/ 99703 h 285751"/>
                <a:gd name="connsiteX42" fmla="*/ 55002 w 338138"/>
                <a:gd name="connsiteY42" fmla="*/ 82550 h 285751"/>
                <a:gd name="connsiteX43" fmla="*/ 102729 w 338138"/>
                <a:gd name="connsiteY43" fmla="*/ 0 h 285751"/>
                <a:gd name="connsiteX44" fmla="*/ 305260 w 338138"/>
                <a:gd name="connsiteY44" fmla="*/ 0 h 285751"/>
                <a:gd name="connsiteX45" fmla="*/ 338138 w 338138"/>
                <a:gd name="connsiteY45" fmla="*/ 34237 h 285751"/>
                <a:gd name="connsiteX46" fmla="*/ 338138 w 338138"/>
                <a:gd name="connsiteY46" fmla="*/ 188306 h 285751"/>
                <a:gd name="connsiteX47" fmla="*/ 305260 w 338138"/>
                <a:gd name="connsiteY47" fmla="*/ 221226 h 285751"/>
                <a:gd name="connsiteX48" fmla="*/ 234242 w 338138"/>
                <a:gd name="connsiteY48" fmla="*/ 221226 h 285751"/>
                <a:gd name="connsiteX49" fmla="*/ 234242 w 338138"/>
                <a:gd name="connsiteY49" fmla="*/ 243612 h 285751"/>
                <a:gd name="connsiteX50" fmla="*/ 265806 w 338138"/>
                <a:gd name="connsiteY50" fmla="*/ 243612 h 285751"/>
                <a:gd name="connsiteX51" fmla="*/ 277642 w 338138"/>
                <a:gd name="connsiteY51" fmla="*/ 256780 h 285751"/>
                <a:gd name="connsiteX52" fmla="*/ 277642 w 338138"/>
                <a:gd name="connsiteY52" fmla="*/ 272582 h 285751"/>
                <a:gd name="connsiteX53" fmla="*/ 265806 w 338138"/>
                <a:gd name="connsiteY53" fmla="*/ 285750 h 285751"/>
                <a:gd name="connsiteX54" fmla="*/ 205309 w 338138"/>
                <a:gd name="connsiteY54" fmla="*/ 285750 h 285751"/>
                <a:gd name="connsiteX55" fmla="*/ 210570 w 338138"/>
                <a:gd name="connsiteY55" fmla="*/ 269948 h 285751"/>
                <a:gd name="connsiteX56" fmla="*/ 210570 w 338138"/>
                <a:gd name="connsiteY56" fmla="*/ 213325 h 285751"/>
                <a:gd name="connsiteX57" fmla="*/ 210570 w 338138"/>
                <a:gd name="connsiteY57" fmla="*/ 172504 h 285751"/>
                <a:gd name="connsiteX58" fmla="*/ 296054 w 338138"/>
                <a:gd name="connsiteY58" fmla="*/ 172504 h 285751"/>
                <a:gd name="connsiteX59" fmla="*/ 309205 w 338138"/>
                <a:gd name="connsiteY59" fmla="*/ 159335 h 285751"/>
                <a:gd name="connsiteX60" fmla="*/ 309205 w 338138"/>
                <a:gd name="connsiteY60" fmla="*/ 39504 h 285751"/>
                <a:gd name="connsiteX61" fmla="*/ 296054 w 338138"/>
                <a:gd name="connsiteY61" fmla="*/ 27653 h 285751"/>
                <a:gd name="connsiteX62" fmla="*/ 110620 w 338138"/>
                <a:gd name="connsiteY62" fmla="*/ 27653 h 285751"/>
                <a:gd name="connsiteX63" fmla="*/ 98783 w 338138"/>
                <a:gd name="connsiteY63" fmla="*/ 39504 h 285751"/>
                <a:gd name="connsiteX64" fmla="*/ 98783 w 338138"/>
                <a:gd name="connsiteY64" fmla="*/ 65841 h 285751"/>
                <a:gd name="connsiteX65" fmla="*/ 69850 w 338138"/>
                <a:gd name="connsiteY65" fmla="*/ 65841 h 285751"/>
                <a:gd name="connsiteX66" fmla="*/ 69850 w 338138"/>
                <a:gd name="connsiteY66" fmla="*/ 34237 h 285751"/>
                <a:gd name="connsiteX67" fmla="*/ 102729 w 338138"/>
                <a:gd name="connsiteY67" fmla="*/ 0 h 285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38138" h="285751">
                  <a:moveTo>
                    <a:pt x="46038" y="261938"/>
                  </a:moveTo>
                  <a:cubicBezTo>
                    <a:pt x="41654" y="261938"/>
                    <a:pt x="38100" y="265847"/>
                    <a:pt x="38100" y="270670"/>
                  </a:cubicBezTo>
                  <a:cubicBezTo>
                    <a:pt x="38100" y="275493"/>
                    <a:pt x="41654" y="279402"/>
                    <a:pt x="46038" y="279402"/>
                  </a:cubicBezTo>
                  <a:cubicBezTo>
                    <a:pt x="50422" y="279402"/>
                    <a:pt x="53976" y="275493"/>
                    <a:pt x="53976" y="270670"/>
                  </a:cubicBezTo>
                  <a:cubicBezTo>
                    <a:pt x="53976" y="265847"/>
                    <a:pt x="50422" y="261938"/>
                    <a:pt x="46038" y="261938"/>
                  </a:cubicBezTo>
                  <a:close/>
                  <a:moveTo>
                    <a:pt x="288131" y="184150"/>
                  </a:moveTo>
                  <a:cubicBezTo>
                    <a:pt x="282432" y="184150"/>
                    <a:pt x="277812" y="188770"/>
                    <a:pt x="277812" y="194469"/>
                  </a:cubicBezTo>
                  <a:cubicBezTo>
                    <a:pt x="277812" y="200168"/>
                    <a:pt x="282432" y="204788"/>
                    <a:pt x="288131" y="204788"/>
                  </a:cubicBezTo>
                  <a:cubicBezTo>
                    <a:pt x="293830" y="204788"/>
                    <a:pt x="298450" y="200168"/>
                    <a:pt x="298450" y="194469"/>
                  </a:cubicBezTo>
                  <a:cubicBezTo>
                    <a:pt x="298450" y="188770"/>
                    <a:pt x="293830" y="184150"/>
                    <a:pt x="288131" y="184150"/>
                  </a:cubicBezTo>
                  <a:close/>
                  <a:moveTo>
                    <a:pt x="19050" y="165100"/>
                  </a:moveTo>
                  <a:lnTo>
                    <a:pt x="19050" y="242888"/>
                  </a:lnTo>
                  <a:lnTo>
                    <a:pt x="73025" y="242888"/>
                  </a:lnTo>
                  <a:lnTo>
                    <a:pt x="73025" y="165100"/>
                  </a:lnTo>
                  <a:close/>
                  <a:moveTo>
                    <a:pt x="12010" y="141288"/>
                  </a:moveTo>
                  <a:cubicBezTo>
                    <a:pt x="12010" y="141288"/>
                    <a:pt x="12010" y="141288"/>
                    <a:pt x="81400" y="141288"/>
                  </a:cubicBezTo>
                  <a:cubicBezTo>
                    <a:pt x="86738" y="141288"/>
                    <a:pt x="92075" y="146541"/>
                    <a:pt x="92075" y="153107"/>
                  </a:cubicBezTo>
                  <a:cubicBezTo>
                    <a:pt x="92075" y="153107"/>
                    <a:pt x="92075" y="153107"/>
                    <a:pt x="92075" y="273932"/>
                  </a:cubicBezTo>
                  <a:cubicBezTo>
                    <a:pt x="92075" y="280498"/>
                    <a:pt x="86738" y="285751"/>
                    <a:pt x="81400" y="285751"/>
                  </a:cubicBezTo>
                  <a:cubicBezTo>
                    <a:pt x="81400" y="285751"/>
                    <a:pt x="81400" y="285751"/>
                    <a:pt x="12010" y="285751"/>
                  </a:cubicBezTo>
                  <a:cubicBezTo>
                    <a:pt x="5337" y="285751"/>
                    <a:pt x="0" y="280498"/>
                    <a:pt x="0" y="273932"/>
                  </a:cubicBezTo>
                  <a:cubicBezTo>
                    <a:pt x="0" y="273932"/>
                    <a:pt x="0" y="273932"/>
                    <a:pt x="0" y="153107"/>
                  </a:cubicBezTo>
                  <a:cubicBezTo>
                    <a:pt x="0" y="146541"/>
                    <a:pt x="5337" y="141288"/>
                    <a:pt x="12010" y="141288"/>
                  </a:cubicBezTo>
                  <a:close/>
                  <a:moveTo>
                    <a:pt x="55002" y="82550"/>
                  </a:moveTo>
                  <a:cubicBezTo>
                    <a:pt x="55002" y="82550"/>
                    <a:pt x="55002" y="82550"/>
                    <a:pt x="175185" y="82550"/>
                  </a:cubicBezTo>
                  <a:cubicBezTo>
                    <a:pt x="185751" y="82550"/>
                    <a:pt x="193675" y="90467"/>
                    <a:pt x="193675" y="99703"/>
                  </a:cubicBezTo>
                  <a:cubicBezTo>
                    <a:pt x="193675" y="99703"/>
                    <a:pt x="193675" y="99703"/>
                    <a:pt x="193675" y="268597"/>
                  </a:cubicBezTo>
                  <a:cubicBezTo>
                    <a:pt x="193675" y="277833"/>
                    <a:pt x="185751" y="285750"/>
                    <a:pt x="175185" y="285750"/>
                  </a:cubicBezTo>
                  <a:cubicBezTo>
                    <a:pt x="175185" y="285750"/>
                    <a:pt x="175185" y="285750"/>
                    <a:pt x="107830" y="285750"/>
                  </a:cubicBezTo>
                  <a:cubicBezTo>
                    <a:pt x="109151" y="283111"/>
                    <a:pt x="109151" y="280472"/>
                    <a:pt x="109151" y="276514"/>
                  </a:cubicBezTo>
                  <a:cubicBezTo>
                    <a:pt x="109151" y="276514"/>
                    <a:pt x="109151" y="276514"/>
                    <a:pt x="109151" y="273875"/>
                  </a:cubicBezTo>
                  <a:cubicBezTo>
                    <a:pt x="110471" y="273875"/>
                    <a:pt x="113113" y="275194"/>
                    <a:pt x="115754" y="275194"/>
                  </a:cubicBezTo>
                  <a:cubicBezTo>
                    <a:pt x="121037" y="275194"/>
                    <a:pt x="124999" y="271236"/>
                    <a:pt x="124999" y="264639"/>
                  </a:cubicBezTo>
                  <a:cubicBezTo>
                    <a:pt x="124999" y="259361"/>
                    <a:pt x="121037" y="254083"/>
                    <a:pt x="115754" y="254083"/>
                  </a:cubicBezTo>
                  <a:cubicBezTo>
                    <a:pt x="113113" y="254083"/>
                    <a:pt x="110471" y="255402"/>
                    <a:pt x="109151" y="256722"/>
                  </a:cubicBezTo>
                  <a:cubicBezTo>
                    <a:pt x="109151" y="256722"/>
                    <a:pt x="109151" y="256722"/>
                    <a:pt x="109151" y="235610"/>
                  </a:cubicBezTo>
                  <a:cubicBezTo>
                    <a:pt x="109151" y="235610"/>
                    <a:pt x="109151" y="235610"/>
                    <a:pt x="168582" y="235610"/>
                  </a:cubicBezTo>
                  <a:cubicBezTo>
                    <a:pt x="168582" y="235610"/>
                    <a:pt x="168582" y="235610"/>
                    <a:pt x="168582" y="110259"/>
                  </a:cubicBezTo>
                  <a:cubicBezTo>
                    <a:pt x="168582" y="110259"/>
                    <a:pt x="168582" y="110259"/>
                    <a:pt x="61606" y="110259"/>
                  </a:cubicBezTo>
                  <a:cubicBezTo>
                    <a:pt x="61606" y="110259"/>
                    <a:pt x="61606" y="110259"/>
                    <a:pt x="61606" y="126093"/>
                  </a:cubicBezTo>
                  <a:cubicBezTo>
                    <a:pt x="61606" y="126093"/>
                    <a:pt x="61606" y="126093"/>
                    <a:pt x="36512" y="126093"/>
                  </a:cubicBezTo>
                  <a:cubicBezTo>
                    <a:pt x="36512" y="126093"/>
                    <a:pt x="36512" y="126093"/>
                    <a:pt x="36512" y="99703"/>
                  </a:cubicBezTo>
                  <a:cubicBezTo>
                    <a:pt x="36512" y="90467"/>
                    <a:pt x="45757" y="82550"/>
                    <a:pt x="55002" y="82550"/>
                  </a:cubicBezTo>
                  <a:close/>
                  <a:moveTo>
                    <a:pt x="102729" y="0"/>
                  </a:moveTo>
                  <a:cubicBezTo>
                    <a:pt x="102729" y="0"/>
                    <a:pt x="102729" y="0"/>
                    <a:pt x="305260" y="0"/>
                  </a:cubicBezTo>
                  <a:cubicBezTo>
                    <a:pt x="323672" y="0"/>
                    <a:pt x="338138" y="15802"/>
                    <a:pt x="338138" y="34237"/>
                  </a:cubicBezTo>
                  <a:cubicBezTo>
                    <a:pt x="338138" y="34237"/>
                    <a:pt x="338138" y="34237"/>
                    <a:pt x="338138" y="188306"/>
                  </a:cubicBezTo>
                  <a:cubicBezTo>
                    <a:pt x="338138" y="206741"/>
                    <a:pt x="323672" y="221226"/>
                    <a:pt x="305260" y="221226"/>
                  </a:cubicBezTo>
                  <a:cubicBezTo>
                    <a:pt x="305260" y="221226"/>
                    <a:pt x="305260" y="221226"/>
                    <a:pt x="234242" y="221226"/>
                  </a:cubicBezTo>
                  <a:cubicBezTo>
                    <a:pt x="234242" y="221226"/>
                    <a:pt x="234242" y="221226"/>
                    <a:pt x="234242" y="243612"/>
                  </a:cubicBezTo>
                  <a:cubicBezTo>
                    <a:pt x="234242" y="243612"/>
                    <a:pt x="234242" y="243612"/>
                    <a:pt x="265806" y="243612"/>
                  </a:cubicBezTo>
                  <a:cubicBezTo>
                    <a:pt x="272381" y="243612"/>
                    <a:pt x="277642" y="250196"/>
                    <a:pt x="277642" y="256780"/>
                  </a:cubicBezTo>
                  <a:cubicBezTo>
                    <a:pt x="277642" y="256780"/>
                    <a:pt x="277642" y="256780"/>
                    <a:pt x="277642" y="272582"/>
                  </a:cubicBezTo>
                  <a:cubicBezTo>
                    <a:pt x="277642" y="280483"/>
                    <a:pt x="272381" y="285750"/>
                    <a:pt x="265806" y="285750"/>
                  </a:cubicBezTo>
                  <a:cubicBezTo>
                    <a:pt x="265806" y="285750"/>
                    <a:pt x="265806" y="285750"/>
                    <a:pt x="205309" y="285750"/>
                  </a:cubicBezTo>
                  <a:cubicBezTo>
                    <a:pt x="207940" y="280483"/>
                    <a:pt x="209255" y="275216"/>
                    <a:pt x="210570" y="269948"/>
                  </a:cubicBezTo>
                  <a:cubicBezTo>
                    <a:pt x="210570" y="268632"/>
                    <a:pt x="210570" y="213325"/>
                    <a:pt x="210570" y="213325"/>
                  </a:cubicBezTo>
                  <a:cubicBezTo>
                    <a:pt x="210570" y="213325"/>
                    <a:pt x="210570" y="213325"/>
                    <a:pt x="210570" y="172504"/>
                  </a:cubicBezTo>
                  <a:cubicBezTo>
                    <a:pt x="210570" y="172504"/>
                    <a:pt x="210570" y="172504"/>
                    <a:pt x="296054" y="172504"/>
                  </a:cubicBezTo>
                  <a:cubicBezTo>
                    <a:pt x="303945" y="172504"/>
                    <a:pt x="309205" y="165920"/>
                    <a:pt x="309205" y="159335"/>
                  </a:cubicBezTo>
                  <a:cubicBezTo>
                    <a:pt x="309205" y="159335"/>
                    <a:pt x="309205" y="159335"/>
                    <a:pt x="309205" y="39504"/>
                  </a:cubicBezTo>
                  <a:cubicBezTo>
                    <a:pt x="309205" y="32920"/>
                    <a:pt x="303945" y="27653"/>
                    <a:pt x="296054" y="27653"/>
                  </a:cubicBezTo>
                  <a:cubicBezTo>
                    <a:pt x="296054" y="27653"/>
                    <a:pt x="296054" y="27653"/>
                    <a:pt x="110620" y="27653"/>
                  </a:cubicBezTo>
                  <a:cubicBezTo>
                    <a:pt x="104044" y="27653"/>
                    <a:pt x="98783" y="32920"/>
                    <a:pt x="98783" y="39504"/>
                  </a:cubicBezTo>
                  <a:cubicBezTo>
                    <a:pt x="98783" y="39504"/>
                    <a:pt x="98783" y="39504"/>
                    <a:pt x="98783" y="65841"/>
                  </a:cubicBezTo>
                  <a:cubicBezTo>
                    <a:pt x="98783" y="65841"/>
                    <a:pt x="98783" y="65841"/>
                    <a:pt x="69850" y="65841"/>
                  </a:cubicBezTo>
                  <a:cubicBezTo>
                    <a:pt x="69850" y="65841"/>
                    <a:pt x="69850" y="65841"/>
                    <a:pt x="69850" y="34237"/>
                  </a:cubicBezTo>
                  <a:cubicBezTo>
                    <a:pt x="69850" y="15802"/>
                    <a:pt x="84317" y="0"/>
                    <a:pt x="102729" y="0"/>
                  </a:cubicBezTo>
                  <a:close/>
                </a:path>
              </a:pathLst>
            </a:custGeom>
            <a:solidFill>
              <a:schemeClr val="bg1"/>
            </a:solidFill>
            <a:ln>
              <a:noFill/>
            </a:ln>
          </p:spPr>
          <p:txBody>
            <a:bodyPr wrap="square" lIns="91440" tIns="45720" rIns="91440" bIns="45720" anchor="ctr">
              <a:normAutofit lnSpcReduction="10000"/>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endParaRPr/>
            </a:p>
          </p:txBody>
        </p:sp>
      </p:grpSp>
      <p:grpSp>
        <p:nvGrpSpPr>
          <p:cNvPr id="52" name="ïşļïḓê"/>
          <p:cNvGrpSpPr/>
          <p:nvPr/>
        </p:nvGrpSpPr>
        <p:grpSpPr>
          <a:xfrm>
            <a:off x="5552940" y="3276516"/>
            <a:ext cx="751129" cy="692200"/>
            <a:chOff x="7027147" y="4312982"/>
            <a:chExt cx="692634" cy="692200"/>
          </a:xfrm>
        </p:grpSpPr>
        <p:sp>
          <p:nvSpPr>
            <p:cNvPr id="60" name="íşḷiďé"/>
            <p:cNvSpPr/>
            <p:nvPr/>
          </p:nvSpPr>
          <p:spPr>
            <a:xfrm>
              <a:off x="7027147" y="4312982"/>
              <a:ext cx="692634" cy="692200"/>
            </a:xfrm>
            <a:prstGeom prst="roundRect">
              <a:avLst>
                <a:gd name="adj" fmla="val 10247"/>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defPPr>
                <a:defRPr lang="zh-CN"/>
              </a:defPPr>
              <a:lvl1pPr marL="0" algn="l" defTabSz="913765" rtl="0" eaLnBrk="1" latinLnBrk="0" hangingPunct="1">
                <a:defRPr sz="1800" kern="1200">
                  <a:solidFill>
                    <a:schemeClr val="lt1"/>
                  </a:solidFill>
                </a:defRPr>
              </a:lvl1pPr>
              <a:lvl2pPr marL="457200" algn="l" defTabSz="913765" rtl="0" eaLnBrk="1" latinLnBrk="0" hangingPunct="1">
                <a:defRPr sz="1800" kern="1200">
                  <a:solidFill>
                    <a:schemeClr val="lt1"/>
                  </a:solidFill>
                </a:defRPr>
              </a:lvl2pPr>
              <a:lvl3pPr marL="914400" algn="l" defTabSz="913765" rtl="0" eaLnBrk="1" latinLnBrk="0" hangingPunct="1">
                <a:defRPr sz="1800" kern="1200">
                  <a:solidFill>
                    <a:schemeClr val="lt1"/>
                  </a:solidFill>
                </a:defRPr>
              </a:lvl3pPr>
              <a:lvl4pPr marL="1371600" algn="l" defTabSz="913765" rtl="0" eaLnBrk="1" latinLnBrk="0" hangingPunct="1">
                <a:defRPr sz="1800" kern="1200">
                  <a:solidFill>
                    <a:schemeClr val="lt1"/>
                  </a:solidFill>
                </a:defRPr>
              </a:lvl4pPr>
              <a:lvl5pPr marL="1828800" algn="l" defTabSz="913765" rtl="0" eaLnBrk="1" latinLnBrk="0" hangingPunct="1">
                <a:defRPr sz="1800" kern="1200">
                  <a:solidFill>
                    <a:schemeClr val="lt1"/>
                  </a:solidFill>
                </a:defRPr>
              </a:lvl5pPr>
              <a:lvl6pPr marL="2286000" algn="l" defTabSz="913765" rtl="0" eaLnBrk="1" latinLnBrk="0" hangingPunct="1">
                <a:defRPr sz="1800" kern="1200">
                  <a:solidFill>
                    <a:schemeClr val="lt1"/>
                  </a:solidFill>
                </a:defRPr>
              </a:lvl6pPr>
              <a:lvl7pPr marL="2743200" algn="l" defTabSz="913765" rtl="0" eaLnBrk="1" latinLnBrk="0" hangingPunct="1">
                <a:defRPr sz="1800" kern="1200">
                  <a:solidFill>
                    <a:schemeClr val="lt1"/>
                  </a:solidFill>
                </a:defRPr>
              </a:lvl7pPr>
              <a:lvl8pPr marL="3200400" algn="l" defTabSz="913765" rtl="0" eaLnBrk="1" latinLnBrk="0" hangingPunct="1">
                <a:defRPr sz="1800" kern="1200">
                  <a:solidFill>
                    <a:schemeClr val="lt1"/>
                  </a:solidFill>
                </a:defRPr>
              </a:lvl8pPr>
              <a:lvl9pPr marL="3657600" algn="l" defTabSz="913765" rtl="0" eaLnBrk="1" latinLnBrk="0" hangingPunct="1">
                <a:defRPr sz="1800" kern="1200">
                  <a:solidFill>
                    <a:schemeClr val="lt1"/>
                  </a:solidFill>
                </a:defRPr>
              </a:lvl9pPr>
            </a:lstStyle>
            <a:p>
              <a:pPr lvl="0" algn="ctr" defTabSz="913765">
                <a:spcBef>
                  <a:spcPct val="0"/>
                </a:spcBef>
                <a:defRPr/>
              </a:pPr>
              <a:endParaRPr lang="zh-CN" altLang="en-US" sz="2400" b="1" dirty="0">
                <a:solidFill>
                  <a:schemeClr val="bg1"/>
                </a:solidFill>
              </a:endParaRPr>
            </a:p>
          </p:txBody>
        </p:sp>
        <p:sp>
          <p:nvSpPr>
            <p:cNvPr id="61" name="ïSḷídê"/>
            <p:cNvSpPr/>
            <p:nvPr/>
          </p:nvSpPr>
          <p:spPr bwMode="auto">
            <a:xfrm>
              <a:off x="7167465" y="4484998"/>
              <a:ext cx="411998" cy="348168"/>
            </a:xfrm>
            <a:custGeom>
              <a:avLst/>
              <a:gdLst>
                <a:gd name="connsiteX0" fmla="*/ 46038 w 338138"/>
                <a:gd name="connsiteY0" fmla="*/ 261938 h 285751"/>
                <a:gd name="connsiteX1" fmla="*/ 38100 w 338138"/>
                <a:gd name="connsiteY1" fmla="*/ 270670 h 285751"/>
                <a:gd name="connsiteX2" fmla="*/ 46038 w 338138"/>
                <a:gd name="connsiteY2" fmla="*/ 279402 h 285751"/>
                <a:gd name="connsiteX3" fmla="*/ 53976 w 338138"/>
                <a:gd name="connsiteY3" fmla="*/ 270670 h 285751"/>
                <a:gd name="connsiteX4" fmla="*/ 46038 w 338138"/>
                <a:gd name="connsiteY4" fmla="*/ 261938 h 285751"/>
                <a:gd name="connsiteX5" fmla="*/ 288131 w 338138"/>
                <a:gd name="connsiteY5" fmla="*/ 184150 h 285751"/>
                <a:gd name="connsiteX6" fmla="*/ 277812 w 338138"/>
                <a:gd name="connsiteY6" fmla="*/ 194469 h 285751"/>
                <a:gd name="connsiteX7" fmla="*/ 288131 w 338138"/>
                <a:gd name="connsiteY7" fmla="*/ 204788 h 285751"/>
                <a:gd name="connsiteX8" fmla="*/ 298450 w 338138"/>
                <a:gd name="connsiteY8" fmla="*/ 194469 h 285751"/>
                <a:gd name="connsiteX9" fmla="*/ 288131 w 338138"/>
                <a:gd name="connsiteY9" fmla="*/ 184150 h 285751"/>
                <a:gd name="connsiteX10" fmla="*/ 19050 w 338138"/>
                <a:gd name="connsiteY10" fmla="*/ 165100 h 285751"/>
                <a:gd name="connsiteX11" fmla="*/ 19050 w 338138"/>
                <a:gd name="connsiteY11" fmla="*/ 242888 h 285751"/>
                <a:gd name="connsiteX12" fmla="*/ 73025 w 338138"/>
                <a:gd name="connsiteY12" fmla="*/ 242888 h 285751"/>
                <a:gd name="connsiteX13" fmla="*/ 73025 w 338138"/>
                <a:gd name="connsiteY13" fmla="*/ 165100 h 285751"/>
                <a:gd name="connsiteX14" fmla="*/ 12010 w 338138"/>
                <a:gd name="connsiteY14" fmla="*/ 141288 h 285751"/>
                <a:gd name="connsiteX15" fmla="*/ 81400 w 338138"/>
                <a:gd name="connsiteY15" fmla="*/ 141288 h 285751"/>
                <a:gd name="connsiteX16" fmla="*/ 92075 w 338138"/>
                <a:gd name="connsiteY16" fmla="*/ 153107 h 285751"/>
                <a:gd name="connsiteX17" fmla="*/ 92075 w 338138"/>
                <a:gd name="connsiteY17" fmla="*/ 273932 h 285751"/>
                <a:gd name="connsiteX18" fmla="*/ 81400 w 338138"/>
                <a:gd name="connsiteY18" fmla="*/ 285751 h 285751"/>
                <a:gd name="connsiteX19" fmla="*/ 12010 w 338138"/>
                <a:gd name="connsiteY19" fmla="*/ 285751 h 285751"/>
                <a:gd name="connsiteX20" fmla="*/ 0 w 338138"/>
                <a:gd name="connsiteY20" fmla="*/ 273932 h 285751"/>
                <a:gd name="connsiteX21" fmla="*/ 0 w 338138"/>
                <a:gd name="connsiteY21" fmla="*/ 153107 h 285751"/>
                <a:gd name="connsiteX22" fmla="*/ 12010 w 338138"/>
                <a:gd name="connsiteY22" fmla="*/ 141288 h 285751"/>
                <a:gd name="connsiteX23" fmla="*/ 55002 w 338138"/>
                <a:gd name="connsiteY23" fmla="*/ 82550 h 285751"/>
                <a:gd name="connsiteX24" fmla="*/ 175185 w 338138"/>
                <a:gd name="connsiteY24" fmla="*/ 82550 h 285751"/>
                <a:gd name="connsiteX25" fmla="*/ 193675 w 338138"/>
                <a:gd name="connsiteY25" fmla="*/ 99703 h 285751"/>
                <a:gd name="connsiteX26" fmla="*/ 193675 w 338138"/>
                <a:gd name="connsiteY26" fmla="*/ 268597 h 285751"/>
                <a:gd name="connsiteX27" fmla="*/ 175185 w 338138"/>
                <a:gd name="connsiteY27" fmla="*/ 285750 h 285751"/>
                <a:gd name="connsiteX28" fmla="*/ 107830 w 338138"/>
                <a:gd name="connsiteY28" fmla="*/ 285750 h 285751"/>
                <a:gd name="connsiteX29" fmla="*/ 109151 w 338138"/>
                <a:gd name="connsiteY29" fmla="*/ 276514 h 285751"/>
                <a:gd name="connsiteX30" fmla="*/ 109151 w 338138"/>
                <a:gd name="connsiteY30" fmla="*/ 273875 h 285751"/>
                <a:gd name="connsiteX31" fmla="*/ 115754 w 338138"/>
                <a:gd name="connsiteY31" fmla="*/ 275194 h 285751"/>
                <a:gd name="connsiteX32" fmla="*/ 124999 w 338138"/>
                <a:gd name="connsiteY32" fmla="*/ 264639 h 285751"/>
                <a:gd name="connsiteX33" fmla="*/ 115754 w 338138"/>
                <a:gd name="connsiteY33" fmla="*/ 254083 h 285751"/>
                <a:gd name="connsiteX34" fmla="*/ 109151 w 338138"/>
                <a:gd name="connsiteY34" fmla="*/ 256722 h 285751"/>
                <a:gd name="connsiteX35" fmla="*/ 109151 w 338138"/>
                <a:gd name="connsiteY35" fmla="*/ 235610 h 285751"/>
                <a:gd name="connsiteX36" fmla="*/ 168582 w 338138"/>
                <a:gd name="connsiteY36" fmla="*/ 235610 h 285751"/>
                <a:gd name="connsiteX37" fmla="*/ 168582 w 338138"/>
                <a:gd name="connsiteY37" fmla="*/ 110259 h 285751"/>
                <a:gd name="connsiteX38" fmla="*/ 61606 w 338138"/>
                <a:gd name="connsiteY38" fmla="*/ 110259 h 285751"/>
                <a:gd name="connsiteX39" fmla="*/ 61606 w 338138"/>
                <a:gd name="connsiteY39" fmla="*/ 126093 h 285751"/>
                <a:gd name="connsiteX40" fmla="*/ 36512 w 338138"/>
                <a:gd name="connsiteY40" fmla="*/ 126093 h 285751"/>
                <a:gd name="connsiteX41" fmla="*/ 36512 w 338138"/>
                <a:gd name="connsiteY41" fmla="*/ 99703 h 285751"/>
                <a:gd name="connsiteX42" fmla="*/ 55002 w 338138"/>
                <a:gd name="connsiteY42" fmla="*/ 82550 h 285751"/>
                <a:gd name="connsiteX43" fmla="*/ 102729 w 338138"/>
                <a:gd name="connsiteY43" fmla="*/ 0 h 285751"/>
                <a:gd name="connsiteX44" fmla="*/ 305260 w 338138"/>
                <a:gd name="connsiteY44" fmla="*/ 0 h 285751"/>
                <a:gd name="connsiteX45" fmla="*/ 338138 w 338138"/>
                <a:gd name="connsiteY45" fmla="*/ 34237 h 285751"/>
                <a:gd name="connsiteX46" fmla="*/ 338138 w 338138"/>
                <a:gd name="connsiteY46" fmla="*/ 188306 h 285751"/>
                <a:gd name="connsiteX47" fmla="*/ 305260 w 338138"/>
                <a:gd name="connsiteY47" fmla="*/ 221226 h 285751"/>
                <a:gd name="connsiteX48" fmla="*/ 234242 w 338138"/>
                <a:gd name="connsiteY48" fmla="*/ 221226 h 285751"/>
                <a:gd name="connsiteX49" fmla="*/ 234242 w 338138"/>
                <a:gd name="connsiteY49" fmla="*/ 243612 h 285751"/>
                <a:gd name="connsiteX50" fmla="*/ 265806 w 338138"/>
                <a:gd name="connsiteY50" fmla="*/ 243612 h 285751"/>
                <a:gd name="connsiteX51" fmla="*/ 277642 w 338138"/>
                <a:gd name="connsiteY51" fmla="*/ 256780 h 285751"/>
                <a:gd name="connsiteX52" fmla="*/ 277642 w 338138"/>
                <a:gd name="connsiteY52" fmla="*/ 272582 h 285751"/>
                <a:gd name="connsiteX53" fmla="*/ 265806 w 338138"/>
                <a:gd name="connsiteY53" fmla="*/ 285750 h 285751"/>
                <a:gd name="connsiteX54" fmla="*/ 205309 w 338138"/>
                <a:gd name="connsiteY54" fmla="*/ 285750 h 285751"/>
                <a:gd name="connsiteX55" fmla="*/ 210570 w 338138"/>
                <a:gd name="connsiteY55" fmla="*/ 269948 h 285751"/>
                <a:gd name="connsiteX56" fmla="*/ 210570 w 338138"/>
                <a:gd name="connsiteY56" fmla="*/ 213325 h 285751"/>
                <a:gd name="connsiteX57" fmla="*/ 210570 w 338138"/>
                <a:gd name="connsiteY57" fmla="*/ 172504 h 285751"/>
                <a:gd name="connsiteX58" fmla="*/ 296054 w 338138"/>
                <a:gd name="connsiteY58" fmla="*/ 172504 h 285751"/>
                <a:gd name="connsiteX59" fmla="*/ 309205 w 338138"/>
                <a:gd name="connsiteY59" fmla="*/ 159335 h 285751"/>
                <a:gd name="connsiteX60" fmla="*/ 309205 w 338138"/>
                <a:gd name="connsiteY60" fmla="*/ 39504 h 285751"/>
                <a:gd name="connsiteX61" fmla="*/ 296054 w 338138"/>
                <a:gd name="connsiteY61" fmla="*/ 27653 h 285751"/>
                <a:gd name="connsiteX62" fmla="*/ 110620 w 338138"/>
                <a:gd name="connsiteY62" fmla="*/ 27653 h 285751"/>
                <a:gd name="connsiteX63" fmla="*/ 98783 w 338138"/>
                <a:gd name="connsiteY63" fmla="*/ 39504 h 285751"/>
                <a:gd name="connsiteX64" fmla="*/ 98783 w 338138"/>
                <a:gd name="connsiteY64" fmla="*/ 65841 h 285751"/>
                <a:gd name="connsiteX65" fmla="*/ 69850 w 338138"/>
                <a:gd name="connsiteY65" fmla="*/ 65841 h 285751"/>
                <a:gd name="connsiteX66" fmla="*/ 69850 w 338138"/>
                <a:gd name="connsiteY66" fmla="*/ 34237 h 285751"/>
                <a:gd name="connsiteX67" fmla="*/ 102729 w 338138"/>
                <a:gd name="connsiteY67" fmla="*/ 0 h 285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38138" h="285751">
                  <a:moveTo>
                    <a:pt x="46038" y="261938"/>
                  </a:moveTo>
                  <a:cubicBezTo>
                    <a:pt x="41654" y="261938"/>
                    <a:pt x="38100" y="265847"/>
                    <a:pt x="38100" y="270670"/>
                  </a:cubicBezTo>
                  <a:cubicBezTo>
                    <a:pt x="38100" y="275493"/>
                    <a:pt x="41654" y="279402"/>
                    <a:pt x="46038" y="279402"/>
                  </a:cubicBezTo>
                  <a:cubicBezTo>
                    <a:pt x="50422" y="279402"/>
                    <a:pt x="53976" y="275493"/>
                    <a:pt x="53976" y="270670"/>
                  </a:cubicBezTo>
                  <a:cubicBezTo>
                    <a:pt x="53976" y="265847"/>
                    <a:pt x="50422" y="261938"/>
                    <a:pt x="46038" y="261938"/>
                  </a:cubicBezTo>
                  <a:close/>
                  <a:moveTo>
                    <a:pt x="288131" y="184150"/>
                  </a:moveTo>
                  <a:cubicBezTo>
                    <a:pt x="282432" y="184150"/>
                    <a:pt x="277812" y="188770"/>
                    <a:pt x="277812" y="194469"/>
                  </a:cubicBezTo>
                  <a:cubicBezTo>
                    <a:pt x="277812" y="200168"/>
                    <a:pt x="282432" y="204788"/>
                    <a:pt x="288131" y="204788"/>
                  </a:cubicBezTo>
                  <a:cubicBezTo>
                    <a:pt x="293830" y="204788"/>
                    <a:pt x="298450" y="200168"/>
                    <a:pt x="298450" y="194469"/>
                  </a:cubicBezTo>
                  <a:cubicBezTo>
                    <a:pt x="298450" y="188770"/>
                    <a:pt x="293830" y="184150"/>
                    <a:pt x="288131" y="184150"/>
                  </a:cubicBezTo>
                  <a:close/>
                  <a:moveTo>
                    <a:pt x="19050" y="165100"/>
                  </a:moveTo>
                  <a:lnTo>
                    <a:pt x="19050" y="242888"/>
                  </a:lnTo>
                  <a:lnTo>
                    <a:pt x="73025" y="242888"/>
                  </a:lnTo>
                  <a:lnTo>
                    <a:pt x="73025" y="165100"/>
                  </a:lnTo>
                  <a:close/>
                  <a:moveTo>
                    <a:pt x="12010" y="141288"/>
                  </a:moveTo>
                  <a:cubicBezTo>
                    <a:pt x="12010" y="141288"/>
                    <a:pt x="12010" y="141288"/>
                    <a:pt x="81400" y="141288"/>
                  </a:cubicBezTo>
                  <a:cubicBezTo>
                    <a:pt x="86738" y="141288"/>
                    <a:pt x="92075" y="146541"/>
                    <a:pt x="92075" y="153107"/>
                  </a:cubicBezTo>
                  <a:cubicBezTo>
                    <a:pt x="92075" y="153107"/>
                    <a:pt x="92075" y="153107"/>
                    <a:pt x="92075" y="273932"/>
                  </a:cubicBezTo>
                  <a:cubicBezTo>
                    <a:pt x="92075" y="280498"/>
                    <a:pt x="86738" y="285751"/>
                    <a:pt x="81400" y="285751"/>
                  </a:cubicBezTo>
                  <a:cubicBezTo>
                    <a:pt x="81400" y="285751"/>
                    <a:pt x="81400" y="285751"/>
                    <a:pt x="12010" y="285751"/>
                  </a:cubicBezTo>
                  <a:cubicBezTo>
                    <a:pt x="5337" y="285751"/>
                    <a:pt x="0" y="280498"/>
                    <a:pt x="0" y="273932"/>
                  </a:cubicBezTo>
                  <a:cubicBezTo>
                    <a:pt x="0" y="273932"/>
                    <a:pt x="0" y="273932"/>
                    <a:pt x="0" y="153107"/>
                  </a:cubicBezTo>
                  <a:cubicBezTo>
                    <a:pt x="0" y="146541"/>
                    <a:pt x="5337" y="141288"/>
                    <a:pt x="12010" y="141288"/>
                  </a:cubicBezTo>
                  <a:close/>
                  <a:moveTo>
                    <a:pt x="55002" y="82550"/>
                  </a:moveTo>
                  <a:cubicBezTo>
                    <a:pt x="55002" y="82550"/>
                    <a:pt x="55002" y="82550"/>
                    <a:pt x="175185" y="82550"/>
                  </a:cubicBezTo>
                  <a:cubicBezTo>
                    <a:pt x="185751" y="82550"/>
                    <a:pt x="193675" y="90467"/>
                    <a:pt x="193675" y="99703"/>
                  </a:cubicBezTo>
                  <a:cubicBezTo>
                    <a:pt x="193675" y="99703"/>
                    <a:pt x="193675" y="99703"/>
                    <a:pt x="193675" y="268597"/>
                  </a:cubicBezTo>
                  <a:cubicBezTo>
                    <a:pt x="193675" y="277833"/>
                    <a:pt x="185751" y="285750"/>
                    <a:pt x="175185" y="285750"/>
                  </a:cubicBezTo>
                  <a:cubicBezTo>
                    <a:pt x="175185" y="285750"/>
                    <a:pt x="175185" y="285750"/>
                    <a:pt x="107830" y="285750"/>
                  </a:cubicBezTo>
                  <a:cubicBezTo>
                    <a:pt x="109151" y="283111"/>
                    <a:pt x="109151" y="280472"/>
                    <a:pt x="109151" y="276514"/>
                  </a:cubicBezTo>
                  <a:cubicBezTo>
                    <a:pt x="109151" y="276514"/>
                    <a:pt x="109151" y="276514"/>
                    <a:pt x="109151" y="273875"/>
                  </a:cubicBezTo>
                  <a:cubicBezTo>
                    <a:pt x="110471" y="273875"/>
                    <a:pt x="113113" y="275194"/>
                    <a:pt x="115754" y="275194"/>
                  </a:cubicBezTo>
                  <a:cubicBezTo>
                    <a:pt x="121037" y="275194"/>
                    <a:pt x="124999" y="271236"/>
                    <a:pt x="124999" y="264639"/>
                  </a:cubicBezTo>
                  <a:cubicBezTo>
                    <a:pt x="124999" y="259361"/>
                    <a:pt x="121037" y="254083"/>
                    <a:pt x="115754" y="254083"/>
                  </a:cubicBezTo>
                  <a:cubicBezTo>
                    <a:pt x="113113" y="254083"/>
                    <a:pt x="110471" y="255402"/>
                    <a:pt x="109151" y="256722"/>
                  </a:cubicBezTo>
                  <a:cubicBezTo>
                    <a:pt x="109151" y="256722"/>
                    <a:pt x="109151" y="256722"/>
                    <a:pt x="109151" y="235610"/>
                  </a:cubicBezTo>
                  <a:cubicBezTo>
                    <a:pt x="109151" y="235610"/>
                    <a:pt x="109151" y="235610"/>
                    <a:pt x="168582" y="235610"/>
                  </a:cubicBezTo>
                  <a:cubicBezTo>
                    <a:pt x="168582" y="235610"/>
                    <a:pt x="168582" y="235610"/>
                    <a:pt x="168582" y="110259"/>
                  </a:cubicBezTo>
                  <a:cubicBezTo>
                    <a:pt x="168582" y="110259"/>
                    <a:pt x="168582" y="110259"/>
                    <a:pt x="61606" y="110259"/>
                  </a:cubicBezTo>
                  <a:cubicBezTo>
                    <a:pt x="61606" y="110259"/>
                    <a:pt x="61606" y="110259"/>
                    <a:pt x="61606" y="126093"/>
                  </a:cubicBezTo>
                  <a:cubicBezTo>
                    <a:pt x="61606" y="126093"/>
                    <a:pt x="61606" y="126093"/>
                    <a:pt x="36512" y="126093"/>
                  </a:cubicBezTo>
                  <a:cubicBezTo>
                    <a:pt x="36512" y="126093"/>
                    <a:pt x="36512" y="126093"/>
                    <a:pt x="36512" y="99703"/>
                  </a:cubicBezTo>
                  <a:cubicBezTo>
                    <a:pt x="36512" y="90467"/>
                    <a:pt x="45757" y="82550"/>
                    <a:pt x="55002" y="82550"/>
                  </a:cubicBezTo>
                  <a:close/>
                  <a:moveTo>
                    <a:pt x="102729" y="0"/>
                  </a:moveTo>
                  <a:cubicBezTo>
                    <a:pt x="102729" y="0"/>
                    <a:pt x="102729" y="0"/>
                    <a:pt x="305260" y="0"/>
                  </a:cubicBezTo>
                  <a:cubicBezTo>
                    <a:pt x="323672" y="0"/>
                    <a:pt x="338138" y="15802"/>
                    <a:pt x="338138" y="34237"/>
                  </a:cubicBezTo>
                  <a:cubicBezTo>
                    <a:pt x="338138" y="34237"/>
                    <a:pt x="338138" y="34237"/>
                    <a:pt x="338138" y="188306"/>
                  </a:cubicBezTo>
                  <a:cubicBezTo>
                    <a:pt x="338138" y="206741"/>
                    <a:pt x="323672" y="221226"/>
                    <a:pt x="305260" y="221226"/>
                  </a:cubicBezTo>
                  <a:cubicBezTo>
                    <a:pt x="305260" y="221226"/>
                    <a:pt x="305260" y="221226"/>
                    <a:pt x="234242" y="221226"/>
                  </a:cubicBezTo>
                  <a:cubicBezTo>
                    <a:pt x="234242" y="221226"/>
                    <a:pt x="234242" y="221226"/>
                    <a:pt x="234242" y="243612"/>
                  </a:cubicBezTo>
                  <a:cubicBezTo>
                    <a:pt x="234242" y="243612"/>
                    <a:pt x="234242" y="243612"/>
                    <a:pt x="265806" y="243612"/>
                  </a:cubicBezTo>
                  <a:cubicBezTo>
                    <a:pt x="272381" y="243612"/>
                    <a:pt x="277642" y="250196"/>
                    <a:pt x="277642" y="256780"/>
                  </a:cubicBezTo>
                  <a:cubicBezTo>
                    <a:pt x="277642" y="256780"/>
                    <a:pt x="277642" y="256780"/>
                    <a:pt x="277642" y="272582"/>
                  </a:cubicBezTo>
                  <a:cubicBezTo>
                    <a:pt x="277642" y="280483"/>
                    <a:pt x="272381" y="285750"/>
                    <a:pt x="265806" y="285750"/>
                  </a:cubicBezTo>
                  <a:cubicBezTo>
                    <a:pt x="265806" y="285750"/>
                    <a:pt x="265806" y="285750"/>
                    <a:pt x="205309" y="285750"/>
                  </a:cubicBezTo>
                  <a:cubicBezTo>
                    <a:pt x="207940" y="280483"/>
                    <a:pt x="209255" y="275216"/>
                    <a:pt x="210570" y="269948"/>
                  </a:cubicBezTo>
                  <a:cubicBezTo>
                    <a:pt x="210570" y="268632"/>
                    <a:pt x="210570" y="213325"/>
                    <a:pt x="210570" y="213325"/>
                  </a:cubicBezTo>
                  <a:cubicBezTo>
                    <a:pt x="210570" y="213325"/>
                    <a:pt x="210570" y="213325"/>
                    <a:pt x="210570" y="172504"/>
                  </a:cubicBezTo>
                  <a:cubicBezTo>
                    <a:pt x="210570" y="172504"/>
                    <a:pt x="210570" y="172504"/>
                    <a:pt x="296054" y="172504"/>
                  </a:cubicBezTo>
                  <a:cubicBezTo>
                    <a:pt x="303945" y="172504"/>
                    <a:pt x="309205" y="165920"/>
                    <a:pt x="309205" y="159335"/>
                  </a:cubicBezTo>
                  <a:cubicBezTo>
                    <a:pt x="309205" y="159335"/>
                    <a:pt x="309205" y="159335"/>
                    <a:pt x="309205" y="39504"/>
                  </a:cubicBezTo>
                  <a:cubicBezTo>
                    <a:pt x="309205" y="32920"/>
                    <a:pt x="303945" y="27653"/>
                    <a:pt x="296054" y="27653"/>
                  </a:cubicBezTo>
                  <a:cubicBezTo>
                    <a:pt x="296054" y="27653"/>
                    <a:pt x="296054" y="27653"/>
                    <a:pt x="110620" y="27653"/>
                  </a:cubicBezTo>
                  <a:cubicBezTo>
                    <a:pt x="104044" y="27653"/>
                    <a:pt x="98783" y="32920"/>
                    <a:pt x="98783" y="39504"/>
                  </a:cubicBezTo>
                  <a:cubicBezTo>
                    <a:pt x="98783" y="39504"/>
                    <a:pt x="98783" y="39504"/>
                    <a:pt x="98783" y="65841"/>
                  </a:cubicBezTo>
                  <a:cubicBezTo>
                    <a:pt x="98783" y="65841"/>
                    <a:pt x="98783" y="65841"/>
                    <a:pt x="69850" y="65841"/>
                  </a:cubicBezTo>
                  <a:cubicBezTo>
                    <a:pt x="69850" y="65841"/>
                    <a:pt x="69850" y="65841"/>
                    <a:pt x="69850" y="34237"/>
                  </a:cubicBezTo>
                  <a:cubicBezTo>
                    <a:pt x="69850" y="15802"/>
                    <a:pt x="84317" y="0"/>
                    <a:pt x="102729" y="0"/>
                  </a:cubicBezTo>
                  <a:close/>
                </a:path>
              </a:pathLst>
            </a:custGeom>
            <a:solidFill>
              <a:schemeClr val="bg1"/>
            </a:solidFill>
            <a:ln>
              <a:noFill/>
            </a:ln>
          </p:spPr>
          <p:txBody>
            <a:bodyPr wrap="square" lIns="91440" tIns="45720" rIns="91440" bIns="45720" anchor="ctr">
              <a:normAutofit lnSpcReduction="10000"/>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endParaRPr/>
            </a:p>
          </p:txBody>
        </p:sp>
      </p:grpSp>
      <p:grpSp>
        <p:nvGrpSpPr>
          <p:cNvPr id="53" name="íṣḷïḓe"/>
          <p:cNvGrpSpPr/>
          <p:nvPr/>
        </p:nvGrpSpPr>
        <p:grpSpPr>
          <a:xfrm>
            <a:off x="9729644" y="3276516"/>
            <a:ext cx="751129" cy="692200"/>
            <a:chOff x="9594772" y="4312982"/>
            <a:chExt cx="692634" cy="692200"/>
          </a:xfrm>
        </p:grpSpPr>
        <p:sp>
          <p:nvSpPr>
            <p:cNvPr id="58" name="îşľïdé"/>
            <p:cNvSpPr/>
            <p:nvPr/>
          </p:nvSpPr>
          <p:spPr>
            <a:xfrm>
              <a:off x="9594772" y="4312982"/>
              <a:ext cx="692634" cy="692200"/>
            </a:xfrm>
            <a:prstGeom prst="roundRect">
              <a:avLst>
                <a:gd name="adj" fmla="val 10247"/>
              </a:avLst>
            </a:prstGeom>
            <a:solidFill>
              <a:schemeClr val="accent2"/>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defTabSz="913765">
                <a:spcBef>
                  <a:spcPct val="0"/>
                </a:spcBef>
              </a:pPr>
              <a:endParaRPr lang="zh-CN" altLang="en-US" sz="2400" b="1" dirty="0">
                <a:solidFill>
                  <a:schemeClr val="bg1"/>
                </a:solidFill>
              </a:endParaRPr>
            </a:p>
          </p:txBody>
        </p:sp>
        <p:sp>
          <p:nvSpPr>
            <p:cNvPr id="59" name="iSlïdè"/>
            <p:cNvSpPr/>
            <p:nvPr/>
          </p:nvSpPr>
          <p:spPr bwMode="auto">
            <a:xfrm>
              <a:off x="9735090" y="4484998"/>
              <a:ext cx="411998" cy="348168"/>
            </a:xfrm>
            <a:custGeom>
              <a:avLst/>
              <a:gdLst>
                <a:gd name="connsiteX0" fmla="*/ 46038 w 338138"/>
                <a:gd name="connsiteY0" fmla="*/ 261938 h 285751"/>
                <a:gd name="connsiteX1" fmla="*/ 38100 w 338138"/>
                <a:gd name="connsiteY1" fmla="*/ 270670 h 285751"/>
                <a:gd name="connsiteX2" fmla="*/ 46038 w 338138"/>
                <a:gd name="connsiteY2" fmla="*/ 279402 h 285751"/>
                <a:gd name="connsiteX3" fmla="*/ 53976 w 338138"/>
                <a:gd name="connsiteY3" fmla="*/ 270670 h 285751"/>
                <a:gd name="connsiteX4" fmla="*/ 46038 w 338138"/>
                <a:gd name="connsiteY4" fmla="*/ 261938 h 285751"/>
                <a:gd name="connsiteX5" fmla="*/ 288131 w 338138"/>
                <a:gd name="connsiteY5" fmla="*/ 184150 h 285751"/>
                <a:gd name="connsiteX6" fmla="*/ 277812 w 338138"/>
                <a:gd name="connsiteY6" fmla="*/ 194469 h 285751"/>
                <a:gd name="connsiteX7" fmla="*/ 288131 w 338138"/>
                <a:gd name="connsiteY7" fmla="*/ 204788 h 285751"/>
                <a:gd name="connsiteX8" fmla="*/ 298450 w 338138"/>
                <a:gd name="connsiteY8" fmla="*/ 194469 h 285751"/>
                <a:gd name="connsiteX9" fmla="*/ 288131 w 338138"/>
                <a:gd name="connsiteY9" fmla="*/ 184150 h 285751"/>
                <a:gd name="connsiteX10" fmla="*/ 19050 w 338138"/>
                <a:gd name="connsiteY10" fmla="*/ 165100 h 285751"/>
                <a:gd name="connsiteX11" fmla="*/ 19050 w 338138"/>
                <a:gd name="connsiteY11" fmla="*/ 242888 h 285751"/>
                <a:gd name="connsiteX12" fmla="*/ 73025 w 338138"/>
                <a:gd name="connsiteY12" fmla="*/ 242888 h 285751"/>
                <a:gd name="connsiteX13" fmla="*/ 73025 w 338138"/>
                <a:gd name="connsiteY13" fmla="*/ 165100 h 285751"/>
                <a:gd name="connsiteX14" fmla="*/ 12010 w 338138"/>
                <a:gd name="connsiteY14" fmla="*/ 141288 h 285751"/>
                <a:gd name="connsiteX15" fmla="*/ 81400 w 338138"/>
                <a:gd name="connsiteY15" fmla="*/ 141288 h 285751"/>
                <a:gd name="connsiteX16" fmla="*/ 92075 w 338138"/>
                <a:gd name="connsiteY16" fmla="*/ 153107 h 285751"/>
                <a:gd name="connsiteX17" fmla="*/ 92075 w 338138"/>
                <a:gd name="connsiteY17" fmla="*/ 273932 h 285751"/>
                <a:gd name="connsiteX18" fmla="*/ 81400 w 338138"/>
                <a:gd name="connsiteY18" fmla="*/ 285751 h 285751"/>
                <a:gd name="connsiteX19" fmla="*/ 12010 w 338138"/>
                <a:gd name="connsiteY19" fmla="*/ 285751 h 285751"/>
                <a:gd name="connsiteX20" fmla="*/ 0 w 338138"/>
                <a:gd name="connsiteY20" fmla="*/ 273932 h 285751"/>
                <a:gd name="connsiteX21" fmla="*/ 0 w 338138"/>
                <a:gd name="connsiteY21" fmla="*/ 153107 h 285751"/>
                <a:gd name="connsiteX22" fmla="*/ 12010 w 338138"/>
                <a:gd name="connsiteY22" fmla="*/ 141288 h 285751"/>
                <a:gd name="connsiteX23" fmla="*/ 55002 w 338138"/>
                <a:gd name="connsiteY23" fmla="*/ 82550 h 285751"/>
                <a:gd name="connsiteX24" fmla="*/ 175185 w 338138"/>
                <a:gd name="connsiteY24" fmla="*/ 82550 h 285751"/>
                <a:gd name="connsiteX25" fmla="*/ 193675 w 338138"/>
                <a:gd name="connsiteY25" fmla="*/ 99703 h 285751"/>
                <a:gd name="connsiteX26" fmla="*/ 193675 w 338138"/>
                <a:gd name="connsiteY26" fmla="*/ 268597 h 285751"/>
                <a:gd name="connsiteX27" fmla="*/ 175185 w 338138"/>
                <a:gd name="connsiteY27" fmla="*/ 285750 h 285751"/>
                <a:gd name="connsiteX28" fmla="*/ 107830 w 338138"/>
                <a:gd name="connsiteY28" fmla="*/ 285750 h 285751"/>
                <a:gd name="connsiteX29" fmla="*/ 109151 w 338138"/>
                <a:gd name="connsiteY29" fmla="*/ 276514 h 285751"/>
                <a:gd name="connsiteX30" fmla="*/ 109151 w 338138"/>
                <a:gd name="connsiteY30" fmla="*/ 273875 h 285751"/>
                <a:gd name="connsiteX31" fmla="*/ 115754 w 338138"/>
                <a:gd name="connsiteY31" fmla="*/ 275194 h 285751"/>
                <a:gd name="connsiteX32" fmla="*/ 124999 w 338138"/>
                <a:gd name="connsiteY32" fmla="*/ 264639 h 285751"/>
                <a:gd name="connsiteX33" fmla="*/ 115754 w 338138"/>
                <a:gd name="connsiteY33" fmla="*/ 254083 h 285751"/>
                <a:gd name="connsiteX34" fmla="*/ 109151 w 338138"/>
                <a:gd name="connsiteY34" fmla="*/ 256722 h 285751"/>
                <a:gd name="connsiteX35" fmla="*/ 109151 w 338138"/>
                <a:gd name="connsiteY35" fmla="*/ 235610 h 285751"/>
                <a:gd name="connsiteX36" fmla="*/ 168582 w 338138"/>
                <a:gd name="connsiteY36" fmla="*/ 235610 h 285751"/>
                <a:gd name="connsiteX37" fmla="*/ 168582 w 338138"/>
                <a:gd name="connsiteY37" fmla="*/ 110259 h 285751"/>
                <a:gd name="connsiteX38" fmla="*/ 61606 w 338138"/>
                <a:gd name="connsiteY38" fmla="*/ 110259 h 285751"/>
                <a:gd name="connsiteX39" fmla="*/ 61606 w 338138"/>
                <a:gd name="connsiteY39" fmla="*/ 126093 h 285751"/>
                <a:gd name="connsiteX40" fmla="*/ 36512 w 338138"/>
                <a:gd name="connsiteY40" fmla="*/ 126093 h 285751"/>
                <a:gd name="connsiteX41" fmla="*/ 36512 w 338138"/>
                <a:gd name="connsiteY41" fmla="*/ 99703 h 285751"/>
                <a:gd name="connsiteX42" fmla="*/ 55002 w 338138"/>
                <a:gd name="connsiteY42" fmla="*/ 82550 h 285751"/>
                <a:gd name="connsiteX43" fmla="*/ 102729 w 338138"/>
                <a:gd name="connsiteY43" fmla="*/ 0 h 285751"/>
                <a:gd name="connsiteX44" fmla="*/ 305260 w 338138"/>
                <a:gd name="connsiteY44" fmla="*/ 0 h 285751"/>
                <a:gd name="connsiteX45" fmla="*/ 338138 w 338138"/>
                <a:gd name="connsiteY45" fmla="*/ 34237 h 285751"/>
                <a:gd name="connsiteX46" fmla="*/ 338138 w 338138"/>
                <a:gd name="connsiteY46" fmla="*/ 188306 h 285751"/>
                <a:gd name="connsiteX47" fmla="*/ 305260 w 338138"/>
                <a:gd name="connsiteY47" fmla="*/ 221226 h 285751"/>
                <a:gd name="connsiteX48" fmla="*/ 234242 w 338138"/>
                <a:gd name="connsiteY48" fmla="*/ 221226 h 285751"/>
                <a:gd name="connsiteX49" fmla="*/ 234242 w 338138"/>
                <a:gd name="connsiteY49" fmla="*/ 243612 h 285751"/>
                <a:gd name="connsiteX50" fmla="*/ 265806 w 338138"/>
                <a:gd name="connsiteY50" fmla="*/ 243612 h 285751"/>
                <a:gd name="connsiteX51" fmla="*/ 277642 w 338138"/>
                <a:gd name="connsiteY51" fmla="*/ 256780 h 285751"/>
                <a:gd name="connsiteX52" fmla="*/ 277642 w 338138"/>
                <a:gd name="connsiteY52" fmla="*/ 272582 h 285751"/>
                <a:gd name="connsiteX53" fmla="*/ 265806 w 338138"/>
                <a:gd name="connsiteY53" fmla="*/ 285750 h 285751"/>
                <a:gd name="connsiteX54" fmla="*/ 205309 w 338138"/>
                <a:gd name="connsiteY54" fmla="*/ 285750 h 285751"/>
                <a:gd name="connsiteX55" fmla="*/ 210570 w 338138"/>
                <a:gd name="connsiteY55" fmla="*/ 269948 h 285751"/>
                <a:gd name="connsiteX56" fmla="*/ 210570 w 338138"/>
                <a:gd name="connsiteY56" fmla="*/ 213325 h 285751"/>
                <a:gd name="connsiteX57" fmla="*/ 210570 w 338138"/>
                <a:gd name="connsiteY57" fmla="*/ 172504 h 285751"/>
                <a:gd name="connsiteX58" fmla="*/ 296054 w 338138"/>
                <a:gd name="connsiteY58" fmla="*/ 172504 h 285751"/>
                <a:gd name="connsiteX59" fmla="*/ 309205 w 338138"/>
                <a:gd name="connsiteY59" fmla="*/ 159335 h 285751"/>
                <a:gd name="connsiteX60" fmla="*/ 309205 w 338138"/>
                <a:gd name="connsiteY60" fmla="*/ 39504 h 285751"/>
                <a:gd name="connsiteX61" fmla="*/ 296054 w 338138"/>
                <a:gd name="connsiteY61" fmla="*/ 27653 h 285751"/>
                <a:gd name="connsiteX62" fmla="*/ 110620 w 338138"/>
                <a:gd name="connsiteY62" fmla="*/ 27653 h 285751"/>
                <a:gd name="connsiteX63" fmla="*/ 98783 w 338138"/>
                <a:gd name="connsiteY63" fmla="*/ 39504 h 285751"/>
                <a:gd name="connsiteX64" fmla="*/ 98783 w 338138"/>
                <a:gd name="connsiteY64" fmla="*/ 65841 h 285751"/>
                <a:gd name="connsiteX65" fmla="*/ 69850 w 338138"/>
                <a:gd name="connsiteY65" fmla="*/ 65841 h 285751"/>
                <a:gd name="connsiteX66" fmla="*/ 69850 w 338138"/>
                <a:gd name="connsiteY66" fmla="*/ 34237 h 285751"/>
                <a:gd name="connsiteX67" fmla="*/ 102729 w 338138"/>
                <a:gd name="connsiteY67" fmla="*/ 0 h 285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38138" h="285751">
                  <a:moveTo>
                    <a:pt x="46038" y="261938"/>
                  </a:moveTo>
                  <a:cubicBezTo>
                    <a:pt x="41654" y="261938"/>
                    <a:pt x="38100" y="265847"/>
                    <a:pt x="38100" y="270670"/>
                  </a:cubicBezTo>
                  <a:cubicBezTo>
                    <a:pt x="38100" y="275493"/>
                    <a:pt x="41654" y="279402"/>
                    <a:pt x="46038" y="279402"/>
                  </a:cubicBezTo>
                  <a:cubicBezTo>
                    <a:pt x="50422" y="279402"/>
                    <a:pt x="53976" y="275493"/>
                    <a:pt x="53976" y="270670"/>
                  </a:cubicBezTo>
                  <a:cubicBezTo>
                    <a:pt x="53976" y="265847"/>
                    <a:pt x="50422" y="261938"/>
                    <a:pt x="46038" y="261938"/>
                  </a:cubicBezTo>
                  <a:close/>
                  <a:moveTo>
                    <a:pt x="288131" y="184150"/>
                  </a:moveTo>
                  <a:cubicBezTo>
                    <a:pt x="282432" y="184150"/>
                    <a:pt x="277812" y="188770"/>
                    <a:pt x="277812" y="194469"/>
                  </a:cubicBezTo>
                  <a:cubicBezTo>
                    <a:pt x="277812" y="200168"/>
                    <a:pt x="282432" y="204788"/>
                    <a:pt x="288131" y="204788"/>
                  </a:cubicBezTo>
                  <a:cubicBezTo>
                    <a:pt x="293830" y="204788"/>
                    <a:pt x="298450" y="200168"/>
                    <a:pt x="298450" y="194469"/>
                  </a:cubicBezTo>
                  <a:cubicBezTo>
                    <a:pt x="298450" y="188770"/>
                    <a:pt x="293830" y="184150"/>
                    <a:pt x="288131" y="184150"/>
                  </a:cubicBezTo>
                  <a:close/>
                  <a:moveTo>
                    <a:pt x="19050" y="165100"/>
                  </a:moveTo>
                  <a:lnTo>
                    <a:pt x="19050" y="242888"/>
                  </a:lnTo>
                  <a:lnTo>
                    <a:pt x="73025" y="242888"/>
                  </a:lnTo>
                  <a:lnTo>
                    <a:pt x="73025" y="165100"/>
                  </a:lnTo>
                  <a:close/>
                  <a:moveTo>
                    <a:pt x="12010" y="141288"/>
                  </a:moveTo>
                  <a:cubicBezTo>
                    <a:pt x="12010" y="141288"/>
                    <a:pt x="12010" y="141288"/>
                    <a:pt x="81400" y="141288"/>
                  </a:cubicBezTo>
                  <a:cubicBezTo>
                    <a:pt x="86738" y="141288"/>
                    <a:pt x="92075" y="146541"/>
                    <a:pt x="92075" y="153107"/>
                  </a:cubicBezTo>
                  <a:cubicBezTo>
                    <a:pt x="92075" y="153107"/>
                    <a:pt x="92075" y="153107"/>
                    <a:pt x="92075" y="273932"/>
                  </a:cubicBezTo>
                  <a:cubicBezTo>
                    <a:pt x="92075" y="280498"/>
                    <a:pt x="86738" y="285751"/>
                    <a:pt x="81400" y="285751"/>
                  </a:cubicBezTo>
                  <a:cubicBezTo>
                    <a:pt x="81400" y="285751"/>
                    <a:pt x="81400" y="285751"/>
                    <a:pt x="12010" y="285751"/>
                  </a:cubicBezTo>
                  <a:cubicBezTo>
                    <a:pt x="5337" y="285751"/>
                    <a:pt x="0" y="280498"/>
                    <a:pt x="0" y="273932"/>
                  </a:cubicBezTo>
                  <a:cubicBezTo>
                    <a:pt x="0" y="273932"/>
                    <a:pt x="0" y="273932"/>
                    <a:pt x="0" y="153107"/>
                  </a:cubicBezTo>
                  <a:cubicBezTo>
                    <a:pt x="0" y="146541"/>
                    <a:pt x="5337" y="141288"/>
                    <a:pt x="12010" y="141288"/>
                  </a:cubicBezTo>
                  <a:close/>
                  <a:moveTo>
                    <a:pt x="55002" y="82550"/>
                  </a:moveTo>
                  <a:cubicBezTo>
                    <a:pt x="55002" y="82550"/>
                    <a:pt x="55002" y="82550"/>
                    <a:pt x="175185" y="82550"/>
                  </a:cubicBezTo>
                  <a:cubicBezTo>
                    <a:pt x="185751" y="82550"/>
                    <a:pt x="193675" y="90467"/>
                    <a:pt x="193675" y="99703"/>
                  </a:cubicBezTo>
                  <a:cubicBezTo>
                    <a:pt x="193675" y="99703"/>
                    <a:pt x="193675" y="99703"/>
                    <a:pt x="193675" y="268597"/>
                  </a:cubicBezTo>
                  <a:cubicBezTo>
                    <a:pt x="193675" y="277833"/>
                    <a:pt x="185751" y="285750"/>
                    <a:pt x="175185" y="285750"/>
                  </a:cubicBezTo>
                  <a:cubicBezTo>
                    <a:pt x="175185" y="285750"/>
                    <a:pt x="175185" y="285750"/>
                    <a:pt x="107830" y="285750"/>
                  </a:cubicBezTo>
                  <a:cubicBezTo>
                    <a:pt x="109151" y="283111"/>
                    <a:pt x="109151" y="280472"/>
                    <a:pt x="109151" y="276514"/>
                  </a:cubicBezTo>
                  <a:cubicBezTo>
                    <a:pt x="109151" y="276514"/>
                    <a:pt x="109151" y="276514"/>
                    <a:pt x="109151" y="273875"/>
                  </a:cubicBezTo>
                  <a:cubicBezTo>
                    <a:pt x="110471" y="273875"/>
                    <a:pt x="113113" y="275194"/>
                    <a:pt x="115754" y="275194"/>
                  </a:cubicBezTo>
                  <a:cubicBezTo>
                    <a:pt x="121037" y="275194"/>
                    <a:pt x="124999" y="271236"/>
                    <a:pt x="124999" y="264639"/>
                  </a:cubicBezTo>
                  <a:cubicBezTo>
                    <a:pt x="124999" y="259361"/>
                    <a:pt x="121037" y="254083"/>
                    <a:pt x="115754" y="254083"/>
                  </a:cubicBezTo>
                  <a:cubicBezTo>
                    <a:pt x="113113" y="254083"/>
                    <a:pt x="110471" y="255402"/>
                    <a:pt x="109151" y="256722"/>
                  </a:cubicBezTo>
                  <a:cubicBezTo>
                    <a:pt x="109151" y="256722"/>
                    <a:pt x="109151" y="256722"/>
                    <a:pt x="109151" y="235610"/>
                  </a:cubicBezTo>
                  <a:cubicBezTo>
                    <a:pt x="109151" y="235610"/>
                    <a:pt x="109151" y="235610"/>
                    <a:pt x="168582" y="235610"/>
                  </a:cubicBezTo>
                  <a:cubicBezTo>
                    <a:pt x="168582" y="235610"/>
                    <a:pt x="168582" y="235610"/>
                    <a:pt x="168582" y="110259"/>
                  </a:cubicBezTo>
                  <a:cubicBezTo>
                    <a:pt x="168582" y="110259"/>
                    <a:pt x="168582" y="110259"/>
                    <a:pt x="61606" y="110259"/>
                  </a:cubicBezTo>
                  <a:cubicBezTo>
                    <a:pt x="61606" y="110259"/>
                    <a:pt x="61606" y="110259"/>
                    <a:pt x="61606" y="126093"/>
                  </a:cubicBezTo>
                  <a:cubicBezTo>
                    <a:pt x="61606" y="126093"/>
                    <a:pt x="61606" y="126093"/>
                    <a:pt x="36512" y="126093"/>
                  </a:cubicBezTo>
                  <a:cubicBezTo>
                    <a:pt x="36512" y="126093"/>
                    <a:pt x="36512" y="126093"/>
                    <a:pt x="36512" y="99703"/>
                  </a:cubicBezTo>
                  <a:cubicBezTo>
                    <a:pt x="36512" y="90467"/>
                    <a:pt x="45757" y="82550"/>
                    <a:pt x="55002" y="82550"/>
                  </a:cubicBezTo>
                  <a:close/>
                  <a:moveTo>
                    <a:pt x="102729" y="0"/>
                  </a:moveTo>
                  <a:cubicBezTo>
                    <a:pt x="102729" y="0"/>
                    <a:pt x="102729" y="0"/>
                    <a:pt x="305260" y="0"/>
                  </a:cubicBezTo>
                  <a:cubicBezTo>
                    <a:pt x="323672" y="0"/>
                    <a:pt x="338138" y="15802"/>
                    <a:pt x="338138" y="34237"/>
                  </a:cubicBezTo>
                  <a:cubicBezTo>
                    <a:pt x="338138" y="34237"/>
                    <a:pt x="338138" y="34237"/>
                    <a:pt x="338138" y="188306"/>
                  </a:cubicBezTo>
                  <a:cubicBezTo>
                    <a:pt x="338138" y="206741"/>
                    <a:pt x="323672" y="221226"/>
                    <a:pt x="305260" y="221226"/>
                  </a:cubicBezTo>
                  <a:cubicBezTo>
                    <a:pt x="305260" y="221226"/>
                    <a:pt x="305260" y="221226"/>
                    <a:pt x="234242" y="221226"/>
                  </a:cubicBezTo>
                  <a:cubicBezTo>
                    <a:pt x="234242" y="221226"/>
                    <a:pt x="234242" y="221226"/>
                    <a:pt x="234242" y="243612"/>
                  </a:cubicBezTo>
                  <a:cubicBezTo>
                    <a:pt x="234242" y="243612"/>
                    <a:pt x="234242" y="243612"/>
                    <a:pt x="265806" y="243612"/>
                  </a:cubicBezTo>
                  <a:cubicBezTo>
                    <a:pt x="272381" y="243612"/>
                    <a:pt x="277642" y="250196"/>
                    <a:pt x="277642" y="256780"/>
                  </a:cubicBezTo>
                  <a:cubicBezTo>
                    <a:pt x="277642" y="256780"/>
                    <a:pt x="277642" y="256780"/>
                    <a:pt x="277642" y="272582"/>
                  </a:cubicBezTo>
                  <a:cubicBezTo>
                    <a:pt x="277642" y="280483"/>
                    <a:pt x="272381" y="285750"/>
                    <a:pt x="265806" y="285750"/>
                  </a:cubicBezTo>
                  <a:cubicBezTo>
                    <a:pt x="265806" y="285750"/>
                    <a:pt x="265806" y="285750"/>
                    <a:pt x="205309" y="285750"/>
                  </a:cubicBezTo>
                  <a:cubicBezTo>
                    <a:pt x="207940" y="280483"/>
                    <a:pt x="209255" y="275216"/>
                    <a:pt x="210570" y="269948"/>
                  </a:cubicBezTo>
                  <a:cubicBezTo>
                    <a:pt x="210570" y="268632"/>
                    <a:pt x="210570" y="213325"/>
                    <a:pt x="210570" y="213325"/>
                  </a:cubicBezTo>
                  <a:cubicBezTo>
                    <a:pt x="210570" y="213325"/>
                    <a:pt x="210570" y="213325"/>
                    <a:pt x="210570" y="172504"/>
                  </a:cubicBezTo>
                  <a:cubicBezTo>
                    <a:pt x="210570" y="172504"/>
                    <a:pt x="210570" y="172504"/>
                    <a:pt x="296054" y="172504"/>
                  </a:cubicBezTo>
                  <a:cubicBezTo>
                    <a:pt x="303945" y="172504"/>
                    <a:pt x="309205" y="165920"/>
                    <a:pt x="309205" y="159335"/>
                  </a:cubicBezTo>
                  <a:cubicBezTo>
                    <a:pt x="309205" y="159335"/>
                    <a:pt x="309205" y="159335"/>
                    <a:pt x="309205" y="39504"/>
                  </a:cubicBezTo>
                  <a:cubicBezTo>
                    <a:pt x="309205" y="32920"/>
                    <a:pt x="303945" y="27653"/>
                    <a:pt x="296054" y="27653"/>
                  </a:cubicBezTo>
                  <a:cubicBezTo>
                    <a:pt x="296054" y="27653"/>
                    <a:pt x="296054" y="27653"/>
                    <a:pt x="110620" y="27653"/>
                  </a:cubicBezTo>
                  <a:cubicBezTo>
                    <a:pt x="104044" y="27653"/>
                    <a:pt x="98783" y="32920"/>
                    <a:pt x="98783" y="39504"/>
                  </a:cubicBezTo>
                  <a:cubicBezTo>
                    <a:pt x="98783" y="39504"/>
                    <a:pt x="98783" y="39504"/>
                    <a:pt x="98783" y="65841"/>
                  </a:cubicBezTo>
                  <a:cubicBezTo>
                    <a:pt x="98783" y="65841"/>
                    <a:pt x="98783" y="65841"/>
                    <a:pt x="69850" y="65841"/>
                  </a:cubicBezTo>
                  <a:cubicBezTo>
                    <a:pt x="69850" y="65841"/>
                    <a:pt x="69850" y="65841"/>
                    <a:pt x="69850" y="34237"/>
                  </a:cubicBezTo>
                  <a:cubicBezTo>
                    <a:pt x="69850" y="15802"/>
                    <a:pt x="84317" y="0"/>
                    <a:pt x="102729" y="0"/>
                  </a:cubicBezTo>
                  <a:close/>
                </a:path>
              </a:pathLst>
            </a:custGeom>
            <a:solidFill>
              <a:schemeClr val="bg1"/>
            </a:solidFill>
            <a:ln>
              <a:noFill/>
            </a:ln>
          </p:spPr>
          <p:txBody>
            <a:bodyPr wrap="square" lIns="91440" tIns="45720" rIns="91440" bIns="45720" anchor="ctr">
              <a:normAutofit lnSpcReduction="10000"/>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endParaRPr/>
            </a:p>
          </p:txBody>
        </p:sp>
      </p:grpSp>
      <p:sp>
        <p:nvSpPr>
          <p:cNvPr id="54" name="íšlîďé"/>
          <p:cNvSpPr/>
          <p:nvPr/>
        </p:nvSpPr>
        <p:spPr>
          <a:xfrm>
            <a:off x="928984" y="4116562"/>
            <a:ext cx="1645637" cy="740539"/>
          </a:xfrm>
          <a:prstGeom prst="rect">
            <a:avLst/>
          </a:prstGeom>
          <a:no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normAutofit fontScale="85000" lnSpcReduction="1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fr-FR" altLang="zh-CN" sz="2400" b="1" dirty="0" smtClean="0">
                <a:solidFill>
                  <a:schemeClr val="tx1"/>
                </a:solidFill>
                <a:latin typeface="微软雅黑" pitchFamily="34" charset="-122"/>
                <a:ea typeface="微软雅黑" pitchFamily="34" charset="-122"/>
              </a:rPr>
              <a:t>auto-évaluation</a:t>
            </a:r>
            <a:endParaRPr lang="id-ID" altLang="zh-CN" sz="2400" b="1" dirty="0">
              <a:solidFill>
                <a:schemeClr val="tx1"/>
              </a:solidFill>
              <a:latin typeface="微软雅黑" pitchFamily="34" charset="-122"/>
              <a:ea typeface="微软雅黑" pitchFamily="34" charset="-122"/>
            </a:endParaRPr>
          </a:p>
        </p:txBody>
      </p:sp>
      <p:sp>
        <p:nvSpPr>
          <p:cNvPr id="56" name="îŝḻíḓé"/>
          <p:cNvSpPr/>
          <p:nvPr/>
        </p:nvSpPr>
        <p:spPr>
          <a:xfrm>
            <a:off x="5105685" y="4066289"/>
            <a:ext cx="1645637" cy="692200"/>
          </a:xfrm>
          <a:prstGeom prst="rect">
            <a:avLst/>
          </a:prstGeom>
          <a:no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normAutofit fontScale="92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fr-FR" altLang="zh-CN" sz="2400" b="1" dirty="0" smtClean="0">
                <a:solidFill>
                  <a:schemeClr val="tx1"/>
                </a:solidFill>
                <a:latin typeface="微软雅黑" pitchFamily="34" charset="-122"/>
                <a:ea typeface="微软雅黑" pitchFamily="34" charset="-122"/>
              </a:rPr>
              <a:t>enregistrement</a:t>
            </a:r>
            <a:endParaRPr lang="id-ID" altLang="zh-CN" sz="2400" b="1" dirty="0">
              <a:solidFill>
                <a:schemeClr val="tx1"/>
              </a:solidFill>
              <a:latin typeface="微软雅黑" pitchFamily="34" charset="-122"/>
              <a:ea typeface="微软雅黑" pitchFamily="34" charset="-122"/>
            </a:endParaRPr>
          </a:p>
        </p:txBody>
      </p:sp>
      <p:sp>
        <p:nvSpPr>
          <p:cNvPr id="57" name="íś1iďé"/>
          <p:cNvSpPr/>
          <p:nvPr/>
        </p:nvSpPr>
        <p:spPr>
          <a:xfrm>
            <a:off x="9048583" y="4135580"/>
            <a:ext cx="2113249" cy="553618"/>
          </a:xfrm>
          <a:prstGeom prst="rect">
            <a:avLst/>
          </a:prstGeom>
          <a:no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normAutofit fontScale="70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r>
              <a:rPr lang="fr-FR" altLang="zh-CN" sz="2400" b="1" dirty="0" smtClean="0">
                <a:solidFill>
                  <a:schemeClr val="tx1"/>
                </a:solidFill>
                <a:latin typeface="微软雅黑" pitchFamily="34" charset="-122"/>
                <a:ea typeface="微软雅黑" pitchFamily="34" charset="-122"/>
              </a:rPr>
              <a:t>Une </a:t>
            </a:r>
            <a:r>
              <a:rPr lang="fr-FR" altLang="zh-CN" sz="2400" b="1" dirty="0">
                <a:solidFill>
                  <a:schemeClr val="tx1"/>
                </a:solidFill>
                <a:latin typeface="微软雅黑" pitchFamily="34" charset="-122"/>
                <a:ea typeface="微软雅黑" pitchFamily="34" charset="-122"/>
              </a:rPr>
              <a:t>application clinique</a:t>
            </a:r>
            <a:endParaRPr lang="id-ID" altLang="zh-CN" sz="2400" b="1" dirty="0">
              <a:solidFill>
                <a:schemeClr val="tx1"/>
              </a:solidFill>
              <a:latin typeface="微软雅黑" pitchFamily="34" charset="-122"/>
              <a:ea typeface="微软雅黑" pitchFamily="34" charset="-122"/>
            </a:endParaRPr>
          </a:p>
        </p:txBody>
      </p:sp>
      <p:cxnSp>
        <p:nvCxnSpPr>
          <p:cNvPr id="5" name="直接连接符 4"/>
          <p:cNvCxnSpPr>
            <a:stCxn id="49" idx="2"/>
          </p:cNvCxnSpPr>
          <p:nvPr/>
        </p:nvCxnSpPr>
        <p:spPr>
          <a:xfrm flipH="1">
            <a:off x="5928505" y="2425993"/>
            <a:ext cx="1" cy="850523"/>
          </a:xfrm>
          <a:prstGeom prst="line">
            <a:avLst/>
          </a:prstGeom>
        </p:spPr>
        <p:style>
          <a:lnRef idx="1">
            <a:schemeClr val="accent1"/>
          </a:lnRef>
          <a:fillRef idx="0">
            <a:schemeClr val="accent1"/>
          </a:fillRef>
          <a:effectRef idx="0">
            <a:schemeClr val="accent1"/>
          </a:effectRef>
          <a:fontRef idx="minor">
            <a:schemeClr val="tx1"/>
          </a:fontRef>
        </p:style>
      </p:cxnSp>
      <p:sp>
        <p:nvSpPr>
          <p:cNvPr id="6" name="文本框 5"/>
          <p:cNvSpPr txBox="1"/>
          <p:nvPr/>
        </p:nvSpPr>
        <p:spPr>
          <a:xfrm>
            <a:off x="669925" y="4758489"/>
            <a:ext cx="2138500" cy="2585323"/>
          </a:xfrm>
          <a:prstGeom prst="rect">
            <a:avLst/>
          </a:prstGeom>
          <a:noFill/>
        </p:spPr>
        <p:txBody>
          <a:bodyPr wrap="square" rtlCol="0">
            <a:spAutoFit/>
          </a:bodyPr>
          <a:lstStyle/>
          <a:p>
            <a:r>
              <a:rPr lang="fr-FR" altLang="zh-CN" dirty="0" smtClean="0"/>
              <a:t>L'auto-évaluation </a:t>
            </a:r>
            <a:r>
              <a:rPr lang="fr-FR" altLang="zh-CN" dirty="0"/>
              <a:t>doit être effectuée conformément aux normes de gestion des applications cliniques de technologie médicale pertinentes</a:t>
            </a:r>
            <a:endParaRPr lang="zh-CN" altLang="en-US" dirty="0"/>
          </a:p>
        </p:txBody>
      </p:sp>
      <p:sp>
        <p:nvSpPr>
          <p:cNvPr id="66" name="文本框 65"/>
          <p:cNvSpPr txBox="1"/>
          <p:nvPr/>
        </p:nvSpPr>
        <p:spPr>
          <a:xfrm>
            <a:off x="3581402" y="4760193"/>
            <a:ext cx="4845298" cy="3046988"/>
          </a:xfrm>
          <a:prstGeom prst="rect">
            <a:avLst/>
          </a:prstGeom>
          <a:noFill/>
        </p:spPr>
        <p:txBody>
          <a:bodyPr wrap="square" rtlCol="0">
            <a:spAutoFit/>
          </a:bodyPr>
          <a:lstStyle/>
          <a:p>
            <a:r>
              <a:rPr lang="fr-FR" altLang="zh-CN" sz="1600" b="1" dirty="0" smtClean="0">
                <a:solidFill>
                  <a:srgbClr val="FF0000"/>
                </a:solidFill>
              </a:rPr>
              <a:t>Dans </a:t>
            </a:r>
            <a:r>
              <a:rPr lang="fr-FR" altLang="zh-CN" sz="1600" b="1" dirty="0">
                <a:solidFill>
                  <a:srgbClr val="FF0000"/>
                </a:solidFill>
              </a:rPr>
              <a:t>les 15 jours ouvrables à compter de la date de lancement de la première application clinique, déposer auprès du service administratif de santé</a:t>
            </a:r>
          </a:p>
          <a:p>
            <a:r>
              <a:rPr lang="fr-FR" altLang="zh-CN" sz="1600" b="1" dirty="0">
                <a:solidFill>
                  <a:srgbClr val="FF0000"/>
                </a:solidFill>
              </a:rPr>
              <a:t>Le service de dépôt achève le dossier dans un délai de 15 jours ouvrables à compter de la date de réception du dossier complet</a:t>
            </a:r>
          </a:p>
          <a:p>
            <a:r>
              <a:rPr lang="fr-FR" altLang="zh-CN" sz="1600" b="1" dirty="0">
                <a:solidFill>
                  <a:srgbClr val="FF0000"/>
                </a:solidFill>
              </a:rPr>
              <a:t>Dans la colonne des remarques du "Permis d'exercice médical"</a:t>
            </a:r>
          </a:p>
          <a:p>
            <a:r>
              <a:rPr lang="fr-FR" altLang="zh-CN" sz="1600" b="1" dirty="0">
                <a:solidFill>
                  <a:srgbClr val="FF0000"/>
                </a:solidFill>
              </a:rPr>
              <a:t>Les établissements médicaux sont responsables de l'authenticité des documents déposés</a:t>
            </a:r>
            <a:endParaRPr lang="zh-CN" altLang="en-US" sz="1600" b="1" dirty="0">
              <a:solidFill>
                <a:srgbClr val="FF0000"/>
              </a:solidFill>
            </a:endParaRPr>
          </a:p>
        </p:txBody>
      </p:sp>
      <p:sp>
        <p:nvSpPr>
          <p:cNvPr id="67" name="文本框 66"/>
          <p:cNvSpPr txBox="1"/>
          <p:nvPr/>
        </p:nvSpPr>
        <p:spPr>
          <a:xfrm>
            <a:off x="8610599" y="4758489"/>
            <a:ext cx="3278822" cy="2308324"/>
          </a:xfrm>
          <a:prstGeom prst="rect">
            <a:avLst/>
          </a:prstGeom>
          <a:noFill/>
        </p:spPr>
        <p:txBody>
          <a:bodyPr wrap="square" rtlCol="0">
            <a:spAutoFit/>
          </a:bodyPr>
          <a:lstStyle/>
          <a:p>
            <a:r>
              <a:rPr lang="fr-FR" altLang="zh-CN" dirty="0" smtClean="0"/>
              <a:t>Le </a:t>
            </a:r>
            <a:r>
              <a:rPr lang="fr-FR" altLang="zh-CN" dirty="0"/>
              <a:t>"One Network Office" du site "Shanghai, Chine" est classé dans la colonne d'enregistrement des pratiques des institutions médicales (dossier d'application clinique de la technologie médicale).</a:t>
            </a:r>
            <a:endParaRPr lang="zh-CN" altLang="en-US"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3386407" y="1903784"/>
            <a:ext cx="5419185" cy="895350"/>
          </a:xfrm>
        </p:spPr>
        <p:txBody>
          <a:bodyPr>
            <a:normAutofit fontScale="90000"/>
          </a:bodyPr>
          <a:lstStyle/>
          <a:p>
            <a:r>
              <a:rPr lang="fr-FR" altLang="zh-CN" sz="6000" dirty="0" smtClean="0">
                <a:latin typeface="+mj-ea"/>
              </a:rPr>
              <a:t>Notre </a:t>
            </a:r>
            <a:r>
              <a:rPr lang="fr-FR" altLang="zh-CN" sz="6000" dirty="0">
                <a:latin typeface="+mj-ea"/>
              </a:rPr>
              <a:t>réflexion</a:t>
            </a:r>
            <a:endParaRPr lang="zh-CN" altLang="en-US" sz="6000" dirty="0">
              <a:latin typeface="+mj-ea"/>
            </a:endParaRPr>
          </a:p>
        </p:txBody>
      </p:sp>
      <p:sp>
        <p:nvSpPr>
          <p:cNvPr id="9" name="文本框 8"/>
          <p:cNvSpPr txBox="1"/>
          <p:nvPr/>
        </p:nvSpPr>
        <p:spPr>
          <a:xfrm>
            <a:off x="1987869" y="1903784"/>
            <a:ext cx="1029774" cy="895350"/>
          </a:xfrm>
          <a:prstGeom prst="rect">
            <a:avLst/>
          </a:prstGeom>
          <a:noFill/>
          <a:ln w="117475">
            <a:noFill/>
          </a:ln>
        </p:spPr>
        <p:txBody>
          <a:bodyPr wrap="none" rtlCol="0">
            <a:prstTxWarp prst="textPlain">
              <a:avLst/>
            </a:prstTxWarp>
            <a:spAutoFit/>
          </a:bodyPr>
          <a:lstStyle/>
          <a:p>
            <a:pPr algn="ctr"/>
            <a:r>
              <a:rPr lang="en-US" altLang="zh-CN" spc="100" dirty="0">
                <a:latin typeface="Impact" pitchFamily="34" charset="0"/>
                <a:cs typeface="Arial" charset="0"/>
              </a:rPr>
              <a:t>/02</a:t>
            </a:r>
            <a:endParaRPr lang="zh-CN" altLang="en-US" spc="100" dirty="0">
              <a:latin typeface="Impact" pitchFamily="34" charset="0"/>
              <a:cs typeface="Arial" charset="0"/>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fr-FR" altLang="zh-CN" dirty="0" smtClean="0"/>
              <a:t>Quel </a:t>
            </a:r>
            <a:r>
              <a:rPr lang="fr-FR" altLang="zh-CN" dirty="0"/>
              <a:t>est l'objectif de la gestion des applications cliniques des nouvelles technologies?</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t>12</a:t>
            </a:fld>
            <a:endParaRPr lang="zh-CN" altLang="en-US"/>
          </a:p>
        </p:txBody>
      </p:sp>
      <p:grpSp>
        <p:nvGrpSpPr>
          <p:cNvPr id="87" name="272404"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0" y="1481125"/>
            <a:ext cx="12192000" cy="6231640"/>
            <a:chOff x="0" y="1481125"/>
            <a:chExt cx="12192000" cy="5376875"/>
          </a:xfrm>
        </p:grpSpPr>
        <p:sp>
          <p:nvSpPr>
            <p:cNvPr id="88" name="îśľîdè"/>
            <p:cNvSpPr/>
            <p:nvPr/>
          </p:nvSpPr>
          <p:spPr>
            <a:xfrm>
              <a:off x="0" y="5829301"/>
              <a:ext cx="12192000" cy="1028699"/>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en-US"/>
            </a:p>
          </p:txBody>
        </p:sp>
        <p:grpSp>
          <p:nvGrpSpPr>
            <p:cNvPr id="89" name="íšlîďê"/>
            <p:cNvGrpSpPr/>
            <p:nvPr/>
          </p:nvGrpSpPr>
          <p:grpSpPr>
            <a:xfrm>
              <a:off x="660400" y="1481125"/>
              <a:ext cx="3294336" cy="3994515"/>
              <a:chOff x="660400" y="1481125"/>
              <a:chExt cx="3294336" cy="3994515"/>
            </a:xfrm>
          </p:grpSpPr>
          <p:sp>
            <p:nvSpPr>
              <p:cNvPr id="110" name="îśḻïḍê"/>
              <p:cNvSpPr/>
              <p:nvPr/>
            </p:nvSpPr>
            <p:spPr bwMode="auto">
              <a:xfrm>
                <a:off x="660400" y="3136314"/>
                <a:ext cx="3294336" cy="2339326"/>
              </a:xfrm>
              <a:custGeom>
                <a:avLst/>
                <a:gdLst>
                  <a:gd name="T0" fmla="*/ 559 w 1046"/>
                  <a:gd name="T1" fmla="*/ 39 h 650"/>
                  <a:gd name="T2" fmla="*/ 523 w 1046"/>
                  <a:gd name="T3" fmla="*/ 0 h 650"/>
                  <a:gd name="T4" fmla="*/ 487 w 1046"/>
                  <a:gd name="T5" fmla="*/ 39 h 650"/>
                  <a:gd name="T6" fmla="*/ 0 w 1046"/>
                  <a:gd name="T7" fmla="*/ 39 h 650"/>
                  <a:gd name="T8" fmla="*/ 0 w 1046"/>
                  <a:gd name="T9" fmla="*/ 650 h 650"/>
                  <a:gd name="T10" fmla="*/ 523 w 1046"/>
                  <a:gd name="T11" fmla="*/ 609 h 650"/>
                  <a:gd name="T12" fmla="*/ 1046 w 1046"/>
                  <a:gd name="T13" fmla="*/ 650 h 650"/>
                  <a:gd name="T14" fmla="*/ 1046 w 1046"/>
                  <a:gd name="T15" fmla="*/ 39 h 650"/>
                  <a:gd name="T16" fmla="*/ 559 w 1046"/>
                  <a:gd name="T17" fmla="*/ 39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6" h="650">
                    <a:moveTo>
                      <a:pt x="559" y="39"/>
                    </a:moveTo>
                    <a:cubicBezTo>
                      <a:pt x="523" y="0"/>
                      <a:pt x="523" y="0"/>
                      <a:pt x="523" y="0"/>
                    </a:cubicBezTo>
                    <a:cubicBezTo>
                      <a:pt x="487" y="39"/>
                      <a:pt x="487" y="39"/>
                      <a:pt x="487" y="39"/>
                    </a:cubicBezTo>
                    <a:cubicBezTo>
                      <a:pt x="0" y="39"/>
                      <a:pt x="0" y="39"/>
                      <a:pt x="0" y="39"/>
                    </a:cubicBezTo>
                    <a:cubicBezTo>
                      <a:pt x="0" y="650"/>
                      <a:pt x="0" y="650"/>
                      <a:pt x="0" y="650"/>
                    </a:cubicBezTo>
                    <a:cubicBezTo>
                      <a:pt x="142" y="625"/>
                      <a:pt x="324" y="609"/>
                      <a:pt x="523" y="609"/>
                    </a:cubicBezTo>
                    <a:cubicBezTo>
                      <a:pt x="722" y="609"/>
                      <a:pt x="904" y="625"/>
                      <a:pt x="1046" y="650"/>
                    </a:cubicBezTo>
                    <a:cubicBezTo>
                      <a:pt x="1046" y="39"/>
                      <a:pt x="1046" y="39"/>
                      <a:pt x="1046" y="39"/>
                    </a:cubicBezTo>
                    <a:lnTo>
                      <a:pt x="559" y="39"/>
                    </a:lnTo>
                    <a:close/>
                  </a:path>
                </a:pathLst>
              </a:custGeom>
              <a:solidFill>
                <a:schemeClr val="bg1"/>
              </a:solidFill>
              <a:ln w="3175">
                <a:solidFill>
                  <a:schemeClr val="bg1">
                    <a:lumMod val="95000"/>
                  </a:schemeClr>
                </a:solidFill>
              </a:ln>
              <a:effectLst>
                <a:outerShdw blurRad="635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en-US">
                  <a:solidFill>
                    <a:schemeClr val="lt1"/>
                  </a:solidFill>
                </a:endParaRPr>
              </a:p>
            </p:txBody>
          </p:sp>
          <p:grpSp>
            <p:nvGrpSpPr>
              <p:cNvPr id="111" name="îSlíde"/>
              <p:cNvGrpSpPr/>
              <p:nvPr/>
            </p:nvGrpSpPr>
            <p:grpSpPr>
              <a:xfrm>
                <a:off x="799906" y="3370840"/>
                <a:ext cx="3015324" cy="1873087"/>
                <a:chOff x="4960937" y="3240155"/>
                <a:chExt cx="2270125" cy="1873087"/>
              </a:xfrm>
            </p:grpSpPr>
            <p:sp>
              <p:nvSpPr>
                <p:cNvPr id="116" name="iṥḻïḋê"/>
                <p:cNvSpPr txBox="1"/>
                <p:nvPr/>
              </p:nvSpPr>
              <p:spPr bwMode="auto">
                <a:xfrm>
                  <a:off x="4960937" y="3240155"/>
                  <a:ext cx="2270125" cy="503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spcBef>
                      <a:spcPct val="0"/>
                    </a:spcBef>
                  </a:pPr>
                  <a:r>
                    <a:rPr lang="fr-FR" altLang="zh-CN" sz="1400" b="1" dirty="0" smtClean="0"/>
                    <a:t>Renforcer </a:t>
                  </a:r>
                  <a:r>
                    <a:rPr lang="fr-FR" altLang="zh-CN" sz="1400" b="1" dirty="0"/>
                    <a:t>la gestion de la recherche clinique sur les nouvelles technologies</a:t>
                  </a:r>
                  <a:endParaRPr lang="en-US" altLang="zh-CN" sz="1400" b="1" dirty="0"/>
                </a:p>
              </p:txBody>
            </p:sp>
            <p:sp>
              <p:nvSpPr>
                <p:cNvPr id="117" name="işļíḋé"/>
                <p:cNvSpPr/>
                <p:nvPr/>
              </p:nvSpPr>
              <p:spPr bwMode="auto">
                <a:xfrm>
                  <a:off x="4960937" y="3949156"/>
                  <a:ext cx="2270125" cy="11640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lang="fr-FR" altLang="zh-CN" sz="1100" dirty="0" smtClean="0"/>
                    <a:t>1</a:t>
                  </a:r>
                  <a:r>
                    <a:rPr lang="fr-FR" altLang="zh-CN" sz="1100" dirty="0"/>
                    <a:t>. Pour mener des recherches cliniques sur les nouvelles technologies, il faut passer l'examen académique et l'examen éthique</a:t>
                  </a:r>
                </a:p>
                <a:p>
                  <a:pPr>
                    <a:lnSpc>
                      <a:spcPct val="150000"/>
                    </a:lnSpc>
                  </a:pPr>
                  <a:r>
                    <a:rPr lang="fr-FR" altLang="zh-CN" sz="1100" dirty="0"/>
                    <a:t>2. Les nouvelles technologies qui n'ont pas été prouvées comme étant sûres et efficaces par la recherche clinique ou qui n'ont pas été examinées pour les applications de traduction ne doivent pas être introduites dans les applications cliniques.</a:t>
                  </a:r>
                  <a:endParaRPr lang="en-US" altLang="zh-CN" sz="1100" dirty="0"/>
                </a:p>
              </p:txBody>
            </p:sp>
          </p:grpSp>
          <p:sp>
            <p:nvSpPr>
              <p:cNvPr id="112" name="iśļïḑè"/>
              <p:cNvSpPr/>
              <p:nvPr/>
            </p:nvSpPr>
            <p:spPr>
              <a:xfrm>
                <a:off x="1599807" y="1721448"/>
                <a:ext cx="1415522" cy="1414866"/>
              </a:xfrm>
              <a:custGeom>
                <a:avLst/>
                <a:gdLst>
                  <a:gd name="connsiteX0" fmla="*/ 0 w 1260455"/>
                  <a:gd name="connsiteY0" fmla="*/ 630228 h 1260455"/>
                  <a:gd name="connsiteX1" fmla="*/ 630228 w 1260455"/>
                  <a:gd name="connsiteY1" fmla="*/ 0 h 1260455"/>
                  <a:gd name="connsiteX2" fmla="*/ 1260456 w 1260455"/>
                  <a:gd name="connsiteY2" fmla="*/ 630228 h 1260455"/>
                  <a:gd name="connsiteX3" fmla="*/ 630228 w 1260455"/>
                  <a:gd name="connsiteY3" fmla="*/ 1260456 h 1260455"/>
                  <a:gd name="connsiteX4" fmla="*/ 0 w 1260455"/>
                  <a:gd name="connsiteY4" fmla="*/ 630228 h 1260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0455" h="1260455">
                    <a:moveTo>
                      <a:pt x="0" y="630228"/>
                    </a:moveTo>
                    <a:cubicBezTo>
                      <a:pt x="0" y="282163"/>
                      <a:pt x="282163" y="0"/>
                      <a:pt x="630228" y="0"/>
                    </a:cubicBezTo>
                    <a:cubicBezTo>
                      <a:pt x="978293" y="0"/>
                      <a:pt x="1260456" y="282163"/>
                      <a:pt x="1260456" y="630228"/>
                    </a:cubicBezTo>
                    <a:cubicBezTo>
                      <a:pt x="1260456" y="978293"/>
                      <a:pt x="978293" y="1260456"/>
                      <a:pt x="630228" y="1260456"/>
                    </a:cubicBezTo>
                    <a:cubicBezTo>
                      <a:pt x="282163" y="1260456"/>
                      <a:pt x="0" y="978293"/>
                      <a:pt x="0" y="630228"/>
                    </a:cubicBezTo>
                    <a:close/>
                  </a:path>
                </a:pathLst>
              </a:custGeom>
              <a:blipFill>
                <a:blip r:embed="rId4"/>
                <a:stretch>
                  <a:fillRect l="-16784" r="-16488"/>
                </a:stretch>
              </a:blipFill>
              <a:ln w="19050">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endParaRPr lang="zh-CN" altLang="en-US" sz="2000" b="1" dirty="0">
                  <a:solidFill>
                    <a:schemeClr val="bg1"/>
                  </a:solidFill>
                </a:endParaRPr>
              </a:p>
            </p:txBody>
          </p:sp>
          <p:grpSp>
            <p:nvGrpSpPr>
              <p:cNvPr id="113" name="ïş1iḋê"/>
              <p:cNvGrpSpPr/>
              <p:nvPr/>
            </p:nvGrpSpPr>
            <p:grpSpPr>
              <a:xfrm>
                <a:off x="2067245" y="1481125"/>
                <a:ext cx="480646" cy="480646"/>
                <a:chOff x="4628517" y="1170589"/>
                <a:chExt cx="631578" cy="631578"/>
              </a:xfrm>
            </p:grpSpPr>
            <p:sp>
              <p:nvSpPr>
                <p:cNvPr id="114" name="ïšliḋê"/>
                <p:cNvSpPr/>
                <p:nvPr/>
              </p:nvSpPr>
              <p:spPr>
                <a:xfrm>
                  <a:off x="4628517" y="1170589"/>
                  <a:ext cx="631578" cy="631578"/>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en-US"/>
                </a:p>
              </p:txBody>
            </p:sp>
            <p:sp>
              <p:nvSpPr>
                <p:cNvPr id="115" name="íṩľíḋê"/>
                <p:cNvSpPr/>
                <p:nvPr/>
              </p:nvSpPr>
              <p:spPr bwMode="auto">
                <a:xfrm>
                  <a:off x="4783953" y="1329638"/>
                  <a:ext cx="320706" cy="313480"/>
                </a:xfrm>
                <a:custGeom>
                  <a:avLst/>
                  <a:gdLst>
                    <a:gd name="connsiteX0" fmla="*/ 163904 w 607933"/>
                    <a:gd name="connsiteY0" fmla="*/ 368072 h 594235"/>
                    <a:gd name="connsiteX1" fmla="*/ 194698 w 607933"/>
                    <a:gd name="connsiteY1" fmla="*/ 416677 h 594235"/>
                    <a:gd name="connsiteX2" fmla="*/ 52648 w 607933"/>
                    <a:gd name="connsiteY2" fmla="*/ 475202 h 594235"/>
                    <a:gd name="connsiteX3" fmla="*/ 303966 w 607933"/>
                    <a:gd name="connsiteY3" fmla="*/ 542654 h 594235"/>
                    <a:gd name="connsiteX4" fmla="*/ 555285 w 607933"/>
                    <a:gd name="connsiteY4" fmla="*/ 475202 h 594235"/>
                    <a:gd name="connsiteX5" fmla="*/ 412242 w 607933"/>
                    <a:gd name="connsiteY5" fmla="*/ 416677 h 594235"/>
                    <a:gd name="connsiteX6" fmla="*/ 444030 w 607933"/>
                    <a:gd name="connsiteY6" fmla="*/ 368072 h 594235"/>
                    <a:gd name="connsiteX7" fmla="*/ 607933 w 607933"/>
                    <a:gd name="connsiteY7" fmla="*/ 475202 h 594235"/>
                    <a:gd name="connsiteX8" fmla="*/ 303966 w 607933"/>
                    <a:gd name="connsiteY8" fmla="*/ 594235 h 594235"/>
                    <a:gd name="connsiteX9" fmla="*/ 0 w 607933"/>
                    <a:gd name="connsiteY9" fmla="*/ 475202 h 594235"/>
                    <a:gd name="connsiteX10" fmla="*/ 163904 w 607933"/>
                    <a:gd name="connsiteY10" fmla="*/ 368072 h 594235"/>
                    <a:gd name="connsiteX11" fmla="*/ 304444 w 607933"/>
                    <a:gd name="connsiteY11" fmla="*/ 119134 h 594235"/>
                    <a:gd name="connsiteX12" fmla="*/ 368550 w 607933"/>
                    <a:gd name="connsiteY12" fmla="*/ 183559 h 594235"/>
                    <a:gd name="connsiteX13" fmla="*/ 304444 w 607933"/>
                    <a:gd name="connsiteY13" fmla="*/ 247984 h 594235"/>
                    <a:gd name="connsiteX14" fmla="*/ 240338 w 607933"/>
                    <a:gd name="connsiteY14" fmla="*/ 183559 h 594235"/>
                    <a:gd name="connsiteX15" fmla="*/ 304444 w 607933"/>
                    <a:gd name="connsiteY15" fmla="*/ 119134 h 594235"/>
                    <a:gd name="connsiteX16" fmla="*/ 304941 w 607933"/>
                    <a:gd name="connsiteY16" fmla="*/ 78375 h 594235"/>
                    <a:gd name="connsiteX17" fmla="*/ 198655 w 607933"/>
                    <a:gd name="connsiteY17" fmla="*/ 183536 h 594235"/>
                    <a:gd name="connsiteX18" fmla="*/ 304941 w 607933"/>
                    <a:gd name="connsiteY18" fmla="*/ 288698 h 594235"/>
                    <a:gd name="connsiteX19" fmla="*/ 410234 w 607933"/>
                    <a:gd name="connsiteY19" fmla="*/ 183536 h 594235"/>
                    <a:gd name="connsiteX20" fmla="*/ 304941 w 607933"/>
                    <a:gd name="connsiteY20" fmla="*/ 78375 h 594235"/>
                    <a:gd name="connsiteX21" fmla="*/ 304941 w 607933"/>
                    <a:gd name="connsiteY21" fmla="*/ 0 h 594235"/>
                    <a:gd name="connsiteX22" fmla="*/ 482747 w 607933"/>
                    <a:gd name="connsiteY22" fmla="*/ 178576 h 594235"/>
                    <a:gd name="connsiteX23" fmla="*/ 338714 w 607933"/>
                    <a:gd name="connsiteY23" fmla="*/ 454376 h 594235"/>
                    <a:gd name="connsiteX24" fmla="*/ 304941 w 607933"/>
                    <a:gd name="connsiteY24" fmla="*/ 472234 h 594235"/>
                    <a:gd name="connsiteX25" fmla="*/ 270175 w 607933"/>
                    <a:gd name="connsiteY25" fmla="*/ 454376 h 594235"/>
                    <a:gd name="connsiteX26" fmla="*/ 126142 w 607933"/>
                    <a:gd name="connsiteY26" fmla="*/ 178576 h 594235"/>
                    <a:gd name="connsiteX27" fmla="*/ 304941 w 607933"/>
                    <a:gd name="connsiteY27" fmla="*/ 0 h 594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07933" h="594235">
                      <a:moveTo>
                        <a:pt x="163904" y="368072"/>
                      </a:moveTo>
                      <a:cubicBezTo>
                        <a:pt x="173837" y="383943"/>
                        <a:pt x="183771" y="399814"/>
                        <a:pt x="194698" y="416677"/>
                      </a:cubicBezTo>
                      <a:cubicBezTo>
                        <a:pt x="100329" y="430564"/>
                        <a:pt x="52648" y="460323"/>
                        <a:pt x="52648" y="475202"/>
                      </a:cubicBezTo>
                      <a:cubicBezTo>
                        <a:pt x="52648" y="495041"/>
                        <a:pt x="138076" y="542654"/>
                        <a:pt x="303966" y="542654"/>
                      </a:cubicBezTo>
                      <a:cubicBezTo>
                        <a:pt x="469857" y="542654"/>
                        <a:pt x="555285" y="495041"/>
                        <a:pt x="555285" y="475202"/>
                      </a:cubicBezTo>
                      <a:cubicBezTo>
                        <a:pt x="555285" y="460323"/>
                        <a:pt x="506611" y="430564"/>
                        <a:pt x="412242" y="416677"/>
                      </a:cubicBezTo>
                      <a:cubicBezTo>
                        <a:pt x="424162" y="399814"/>
                        <a:pt x="434096" y="383943"/>
                        <a:pt x="444030" y="368072"/>
                      </a:cubicBezTo>
                      <a:cubicBezTo>
                        <a:pt x="536412" y="385927"/>
                        <a:pt x="607933" y="421637"/>
                        <a:pt x="607933" y="475202"/>
                      </a:cubicBezTo>
                      <a:cubicBezTo>
                        <a:pt x="607933" y="553565"/>
                        <a:pt x="454956" y="594235"/>
                        <a:pt x="303966" y="594235"/>
                      </a:cubicBezTo>
                      <a:cubicBezTo>
                        <a:pt x="152977" y="594235"/>
                        <a:pt x="0" y="553565"/>
                        <a:pt x="0" y="475202"/>
                      </a:cubicBezTo>
                      <a:cubicBezTo>
                        <a:pt x="0" y="421637"/>
                        <a:pt x="70528" y="385927"/>
                        <a:pt x="163904" y="368072"/>
                      </a:cubicBezTo>
                      <a:close/>
                      <a:moveTo>
                        <a:pt x="304444" y="119134"/>
                      </a:moveTo>
                      <a:cubicBezTo>
                        <a:pt x="339849" y="119134"/>
                        <a:pt x="368550" y="147978"/>
                        <a:pt x="368550" y="183559"/>
                      </a:cubicBezTo>
                      <a:cubicBezTo>
                        <a:pt x="368550" y="219140"/>
                        <a:pt x="339849" y="247984"/>
                        <a:pt x="304444" y="247984"/>
                      </a:cubicBezTo>
                      <a:cubicBezTo>
                        <a:pt x="269039" y="247984"/>
                        <a:pt x="240338" y="219140"/>
                        <a:pt x="240338" y="183559"/>
                      </a:cubicBezTo>
                      <a:cubicBezTo>
                        <a:pt x="240338" y="147978"/>
                        <a:pt x="269039" y="119134"/>
                        <a:pt x="304444" y="119134"/>
                      </a:cubicBezTo>
                      <a:close/>
                      <a:moveTo>
                        <a:pt x="304941" y="78375"/>
                      </a:moveTo>
                      <a:cubicBezTo>
                        <a:pt x="246335" y="78375"/>
                        <a:pt x="198655" y="125003"/>
                        <a:pt x="198655" y="183536"/>
                      </a:cubicBezTo>
                      <a:cubicBezTo>
                        <a:pt x="198655" y="242070"/>
                        <a:pt x="246335" y="288698"/>
                        <a:pt x="304941" y="288698"/>
                      </a:cubicBezTo>
                      <a:cubicBezTo>
                        <a:pt x="362554" y="288698"/>
                        <a:pt x="410234" y="242070"/>
                        <a:pt x="410234" y="183536"/>
                      </a:cubicBezTo>
                      <a:cubicBezTo>
                        <a:pt x="410234" y="125003"/>
                        <a:pt x="362554" y="78375"/>
                        <a:pt x="304941" y="78375"/>
                      </a:cubicBezTo>
                      <a:close/>
                      <a:moveTo>
                        <a:pt x="304941" y="0"/>
                      </a:moveTo>
                      <a:cubicBezTo>
                        <a:pt x="403281" y="0"/>
                        <a:pt x="482747" y="80359"/>
                        <a:pt x="482747" y="178576"/>
                      </a:cubicBezTo>
                      <a:cubicBezTo>
                        <a:pt x="482747" y="249014"/>
                        <a:pt x="391361" y="383938"/>
                        <a:pt x="338714" y="454376"/>
                      </a:cubicBezTo>
                      <a:cubicBezTo>
                        <a:pt x="330768" y="465289"/>
                        <a:pt x="317854" y="472234"/>
                        <a:pt x="304941" y="472234"/>
                      </a:cubicBezTo>
                      <a:cubicBezTo>
                        <a:pt x="291035" y="472234"/>
                        <a:pt x="278121" y="465289"/>
                        <a:pt x="270175" y="454376"/>
                      </a:cubicBezTo>
                      <a:cubicBezTo>
                        <a:pt x="217528" y="383938"/>
                        <a:pt x="126142" y="249014"/>
                        <a:pt x="126142" y="178576"/>
                      </a:cubicBezTo>
                      <a:cubicBezTo>
                        <a:pt x="126142" y="80359"/>
                        <a:pt x="205608" y="0"/>
                        <a:pt x="304941" y="0"/>
                      </a:cubicBezTo>
                      <a:close/>
                    </a:path>
                  </a:pathLst>
                </a:custGeom>
                <a:solidFill>
                  <a:schemeClr val="accent1"/>
                </a:solidFill>
                <a:ln>
                  <a:noFill/>
                </a:ln>
              </p:spPr>
              <p:txBody>
                <a:bodyPr wrap="square" lIns="91440" tIns="45720" rIns="91440" bIns="45720">
                  <a:normAutofit fontScale="8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grpSp>
          <p:nvGrpSpPr>
            <p:cNvPr id="90" name="iṩľîḋê"/>
            <p:cNvGrpSpPr/>
            <p:nvPr/>
          </p:nvGrpSpPr>
          <p:grpSpPr>
            <a:xfrm>
              <a:off x="4442482" y="1481125"/>
              <a:ext cx="3294336" cy="3994515"/>
              <a:chOff x="660400" y="1481125"/>
              <a:chExt cx="3294336" cy="3994515"/>
            </a:xfrm>
          </p:grpSpPr>
          <p:sp>
            <p:nvSpPr>
              <p:cNvPr id="102" name="îṥľiḓê"/>
              <p:cNvSpPr/>
              <p:nvPr/>
            </p:nvSpPr>
            <p:spPr bwMode="auto">
              <a:xfrm>
                <a:off x="660400" y="3136314"/>
                <a:ext cx="3294336" cy="2339326"/>
              </a:xfrm>
              <a:custGeom>
                <a:avLst/>
                <a:gdLst>
                  <a:gd name="T0" fmla="*/ 559 w 1046"/>
                  <a:gd name="T1" fmla="*/ 39 h 650"/>
                  <a:gd name="T2" fmla="*/ 523 w 1046"/>
                  <a:gd name="T3" fmla="*/ 0 h 650"/>
                  <a:gd name="T4" fmla="*/ 487 w 1046"/>
                  <a:gd name="T5" fmla="*/ 39 h 650"/>
                  <a:gd name="T6" fmla="*/ 0 w 1046"/>
                  <a:gd name="T7" fmla="*/ 39 h 650"/>
                  <a:gd name="T8" fmla="*/ 0 w 1046"/>
                  <a:gd name="T9" fmla="*/ 650 h 650"/>
                  <a:gd name="T10" fmla="*/ 523 w 1046"/>
                  <a:gd name="T11" fmla="*/ 609 h 650"/>
                  <a:gd name="T12" fmla="*/ 1046 w 1046"/>
                  <a:gd name="T13" fmla="*/ 650 h 650"/>
                  <a:gd name="T14" fmla="*/ 1046 w 1046"/>
                  <a:gd name="T15" fmla="*/ 39 h 650"/>
                  <a:gd name="T16" fmla="*/ 559 w 1046"/>
                  <a:gd name="T17" fmla="*/ 39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6" h="650">
                    <a:moveTo>
                      <a:pt x="559" y="39"/>
                    </a:moveTo>
                    <a:cubicBezTo>
                      <a:pt x="523" y="0"/>
                      <a:pt x="523" y="0"/>
                      <a:pt x="523" y="0"/>
                    </a:cubicBezTo>
                    <a:cubicBezTo>
                      <a:pt x="487" y="39"/>
                      <a:pt x="487" y="39"/>
                      <a:pt x="487" y="39"/>
                    </a:cubicBezTo>
                    <a:cubicBezTo>
                      <a:pt x="0" y="39"/>
                      <a:pt x="0" y="39"/>
                      <a:pt x="0" y="39"/>
                    </a:cubicBezTo>
                    <a:cubicBezTo>
                      <a:pt x="0" y="650"/>
                      <a:pt x="0" y="650"/>
                      <a:pt x="0" y="650"/>
                    </a:cubicBezTo>
                    <a:cubicBezTo>
                      <a:pt x="142" y="625"/>
                      <a:pt x="324" y="609"/>
                      <a:pt x="523" y="609"/>
                    </a:cubicBezTo>
                    <a:cubicBezTo>
                      <a:pt x="722" y="609"/>
                      <a:pt x="904" y="625"/>
                      <a:pt x="1046" y="650"/>
                    </a:cubicBezTo>
                    <a:cubicBezTo>
                      <a:pt x="1046" y="39"/>
                      <a:pt x="1046" y="39"/>
                      <a:pt x="1046" y="39"/>
                    </a:cubicBezTo>
                    <a:lnTo>
                      <a:pt x="559" y="39"/>
                    </a:lnTo>
                    <a:close/>
                  </a:path>
                </a:pathLst>
              </a:custGeom>
              <a:solidFill>
                <a:schemeClr val="bg1"/>
              </a:solidFill>
              <a:ln w="3175">
                <a:solidFill>
                  <a:schemeClr val="bg1">
                    <a:lumMod val="95000"/>
                  </a:schemeClr>
                </a:solidFill>
              </a:ln>
              <a:effectLst>
                <a:outerShdw blurRad="635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en-US" dirty="0">
                  <a:solidFill>
                    <a:schemeClr val="lt1"/>
                  </a:solidFill>
                </a:endParaRPr>
              </a:p>
            </p:txBody>
          </p:sp>
          <p:grpSp>
            <p:nvGrpSpPr>
              <p:cNvPr id="103" name="ïŝ1îďê"/>
              <p:cNvGrpSpPr/>
              <p:nvPr/>
            </p:nvGrpSpPr>
            <p:grpSpPr>
              <a:xfrm>
                <a:off x="770645" y="3312687"/>
                <a:ext cx="3044584" cy="1941696"/>
                <a:chOff x="4938908" y="3182002"/>
                <a:chExt cx="2292154" cy="1941696"/>
              </a:xfrm>
            </p:grpSpPr>
            <p:sp>
              <p:nvSpPr>
                <p:cNvPr id="108" name="îṣḷîdé"/>
                <p:cNvSpPr txBox="1"/>
                <p:nvPr/>
              </p:nvSpPr>
              <p:spPr bwMode="auto">
                <a:xfrm>
                  <a:off x="4938908" y="3182002"/>
                  <a:ext cx="2270125" cy="503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fontScale="70000" lnSpcReduction="20000"/>
                </a:bodyPr>
                <a:lstStyle>
                  <a:defPPr>
                    <a:defRPr lang="zh-CN"/>
                  </a:defPPr>
                  <a:lvl1pPr algn="ctr">
                    <a:lnSpc>
                      <a:spcPct val="100000"/>
                    </a:lnSpc>
                    <a:spcBef>
                      <a:spcPct val="0"/>
                    </a:spcBef>
                    <a:buFontTx/>
                    <a:buNone/>
                    <a:defRPr b="1"/>
                  </a:lvl1pPr>
                </a:lstStyle>
                <a:p>
                  <a:r>
                    <a:rPr lang="fr-FR" altLang="zh-CN" dirty="0" smtClean="0"/>
                    <a:t>Renforcer </a:t>
                  </a:r>
                  <a:r>
                    <a:rPr lang="fr-FR" altLang="zh-CN" dirty="0"/>
                    <a:t>la gestion de la transformation et de l'application des nouvelles technologies</a:t>
                  </a:r>
                  <a:endParaRPr lang="en-US" altLang="zh-CN" dirty="0"/>
                </a:p>
              </p:txBody>
            </p:sp>
            <p:sp>
              <p:nvSpPr>
                <p:cNvPr id="109" name="íś1îḑê"/>
                <p:cNvSpPr/>
                <p:nvPr/>
              </p:nvSpPr>
              <p:spPr bwMode="auto">
                <a:xfrm>
                  <a:off x="4960937" y="3949156"/>
                  <a:ext cx="2270125" cy="1174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fontScale="70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lang="fr-FR" altLang="zh-CN" sz="1100" dirty="0" smtClean="0"/>
                    <a:t>1</a:t>
                  </a:r>
                  <a:r>
                    <a:rPr lang="fr-FR" altLang="zh-CN" sz="1100" dirty="0"/>
                    <a:t>. La recherche clinique prouve que la nouvelle technologie est sûre, efficace et conforme aux principes </a:t>
                  </a:r>
                  <a:r>
                    <a:rPr lang="fr-FR" altLang="zh-CN" sz="1100" dirty="0" err="1"/>
                    <a:t>éthiques.Si</a:t>
                  </a:r>
                  <a:r>
                    <a:rPr lang="fr-FR" altLang="zh-CN" sz="1100" dirty="0"/>
                    <a:t> elle est destinée à une application clinique, l'établissement médical doit soumettre une demande de conversion au service de santé compétent.</a:t>
                  </a:r>
                </a:p>
                <a:p>
                  <a:pPr>
                    <a:lnSpc>
                      <a:spcPct val="150000"/>
                    </a:lnSpc>
                  </a:pPr>
                  <a:r>
                    <a:rPr lang="fr-FR" altLang="zh-CN" sz="1100" dirty="0"/>
                    <a:t>2. Le département administratif national de la santé devrait clarifier les méthodes d'examen et les spécifications pour la transformation et l'application</a:t>
                  </a:r>
                  <a:endParaRPr lang="en-US" altLang="zh-CN" sz="1100" dirty="0"/>
                </a:p>
              </p:txBody>
            </p:sp>
          </p:grpSp>
          <p:sp>
            <p:nvSpPr>
              <p:cNvPr id="104" name="îṧļîdé"/>
              <p:cNvSpPr/>
              <p:nvPr/>
            </p:nvSpPr>
            <p:spPr>
              <a:xfrm>
                <a:off x="1599807" y="1721448"/>
                <a:ext cx="1415522" cy="1414866"/>
              </a:xfrm>
              <a:custGeom>
                <a:avLst/>
                <a:gdLst>
                  <a:gd name="connsiteX0" fmla="*/ 0 w 1260455"/>
                  <a:gd name="connsiteY0" fmla="*/ 630228 h 1260455"/>
                  <a:gd name="connsiteX1" fmla="*/ 630228 w 1260455"/>
                  <a:gd name="connsiteY1" fmla="*/ 0 h 1260455"/>
                  <a:gd name="connsiteX2" fmla="*/ 1260456 w 1260455"/>
                  <a:gd name="connsiteY2" fmla="*/ 630228 h 1260455"/>
                  <a:gd name="connsiteX3" fmla="*/ 630228 w 1260455"/>
                  <a:gd name="connsiteY3" fmla="*/ 1260456 h 1260455"/>
                  <a:gd name="connsiteX4" fmla="*/ 0 w 1260455"/>
                  <a:gd name="connsiteY4" fmla="*/ 630228 h 1260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0455" h="1260455">
                    <a:moveTo>
                      <a:pt x="0" y="630228"/>
                    </a:moveTo>
                    <a:cubicBezTo>
                      <a:pt x="0" y="282163"/>
                      <a:pt x="282163" y="0"/>
                      <a:pt x="630228" y="0"/>
                    </a:cubicBezTo>
                    <a:cubicBezTo>
                      <a:pt x="978293" y="0"/>
                      <a:pt x="1260456" y="282163"/>
                      <a:pt x="1260456" y="630228"/>
                    </a:cubicBezTo>
                    <a:cubicBezTo>
                      <a:pt x="1260456" y="978293"/>
                      <a:pt x="978293" y="1260456"/>
                      <a:pt x="630228" y="1260456"/>
                    </a:cubicBezTo>
                    <a:cubicBezTo>
                      <a:pt x="282163" y="1260456"/>
                      <a:pt x="0" y="978293"/>
                      <a:pt x="0" y="630228"/>
                    </a:cubicBezTo>
                    <a:close/>
                  </a:path>
                </a:pathLst>
              </a:custGeom>
              <a:blipFill>
                <a:blip r:embed="rId5"/>
                <a:stretch>
                  <a:fillRect l="-28650" r="-28140"/>
                </a:stretch>
              </a:blipFill>
              <a:ln w="19050">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endParaRPr lang="zh-CN" altLang="en-US" sz="2000" b="1" dirty="0">
                  <a:solidFill>
                    <a:schemeClr val="bg1"/>
                  </a:solidFill>
                </a:endParaRPr>
              </a:p>
            </p:txBody>
          </p:sp>
          <p:grpSp>
            <p:nvGrpSpPr>
              <p:cNvPr id="105" name="íṩ1íḋê"/>
              <p:cNvGrpSpPr/>
              <p:nvPr/>
            </p:nvGrpSpPr>
            <p:grpSpPr>
              <a:xfrm>
                <a:off x="2067245" y="1481125"/>
                <a:ext cx="480646" cy="480646"/>
                <a:chOff x="4628517" y="1170589"/>
                <a:chExt cx="631578" cy="631578"/>
              </a:xfrm>
            </p:grpSpPr>
            <p:sp>
              <p:nvSpPr>
                <p:cNvPr id="106" name="îşľïḑé"/>
                <p:cNvSpPr/>
                <p:nvPr/>
              </p:nvSpPr>
              <p:spPr>
                <a:xfrm>
                  <a:off x="4628517" y="1170589"/>
                  <a:ext cx="631578" cy="631578"/>
                </a:xfrm>
                <a:prstGeom prst="ellipse">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en-US"/>
                </a:p>
              </p:txBody>
            </p:sp>
            <p:sp>
              <p:nvSpPr>
                <p:cNvPr id="107" name="îšḷîďé"/>
                <p:cNvSpPr/>
                <p:nvPr/>
              </p:nvSpPr>
              <p:spPr bwMode="auto">
                <a:xfrm>
                  <a:off x="4783953" y="1329638"/>
                  <a:ext cx="320706" cy="313480"/>
                </a:xfrm>
                <a:custGeom>
                  <a:avLst/>
                  <a:gdLst>
                    <a:gd name="connsiteX0" fmla="*/ 163904 w 607933"/>
                    <a:gd name="connsiteY0" fmla="*/ 368072 h 594235"/>
                    <a:gd name="connsiteX1" fmla="*/ 194698 w 607933"/>
                    <a:gd name="connsiteY1" fmla="*/ 416677 h 594235"/>
                    <a:gd name="connsiteX2" fmla="*/ 52648 w 607933"/>
                    <a:gd name="connsiteY2" fmla="*/ 475202 h 594235"/>
                    <a:gd name="connsiteX3" fmla="*/ 303966 w 607933"/>
                    <a:gd name="connsiteY3" fmla="*/ 542654 h 594235"/>
                    <a:gd name="connsiteX4" fmla="*/ 555285 w 607933"/>
                    <a:gd name="connsiteY4" fmla="*/ 475202 h 594235"/>
                    <a:gd name="connsiteX5" fmla="*/ 412242 w 607933"/>
                    <a:gd name="connsiteY5" fmla="*/ 416677 h 594235"/>
                    <a:gd name="connsiteX6" fmla="*/ 444030 w 607933"/>
                    <a:gd name="connsiteY6" fmla="*/ 368072 h 594235"/>
                    <a:gd name="connsiteX7" fmla="*/ 607933 w 607933"/>
                    <a:gd name="connsiteY7" fmla="*/ 475202 h 594235"/>
                    <a:gd name="connsiteX8" fmla="*/ 303966 w 607933"/>
                    <a:gd name="connsiteY8" fmla="*/ 594235 h 594235"/>
                    <a:gd name="connsiteX9" fmla="*/ 0 w 607933"/>
                    <a:gd name="connsiteY9" fmla="*/ 475202 h 594235"/>
                    <a:gd name="connsiteX10" fmla="*/ 163904 w 607933"/>
                    <a:gd name="connsiteY10" fmla="*/ 368072 h 594235"/>
                    <a:gd name="connsiteX11" fmla="*/ 304444 w 607933"/>
                    <a:gd name="connsiteY11" fmla="*/ 119134 h 594235"/>
                    <a:gd name="connsiteX12" fmla="*/ 368550 w 607933"/>
                    <a:gd name="connsiteY12" fmla="*/ 183559 h 594235"/>
                    <a:gd name="connsiteX13" fmla="*/ 304444 w 607933"/>
                    <a:gd name="connsiteY13" fmla="*/ 247984 h 594235"/>
                    <a:gd name="connsiteX14" fmla="*/ 240338 w 607933"/>
                    <a:gd name="connsiteY14" fmla="*/ 183559 h 594235"/>
                    <a:gd name="connsiteX15" fmla="*/ 304444 w 607933"/>
                    <a:gd name="connsiteY15" fmla="*/ 119134 h 594235"/>
                    <a:gd name="connsiteX16" fmla="*/ 304941 w 607933"/>
                    <a:gd name="connsiteY16" fmla="*/ 78375 h 594235"/>
                    <a:gd name="connsiteX17" fmla="*/ 198655 w 607933"/>
                    <a:gd name="connsiteY17" fmla="*/ 183536 h 594235"/>
                    <a:gd name="connsiteX18" fmla="*/ 304941 w 607933"/>
                    <a:gd name="connsiteY18" fmla="*/ 288698 h 594235"/>
                    <a:gd name="connsiteX19" fmla="*/ 410234 w 607933"/>
                    <a:gd name="connsiteY19" fmla="*/ 183536 h 594235"/>
                    <a:gd name="connsiteX20" fmla="*/ 304941 w 607933"/>
                    <a:gd name="connsiteY20" fmla="*/ 78375 h 594235"/>
                    <a:gd name="connsiteX21" fmla="*/ 304941 w 607933"/>
                    <a:gd name="connsiteY21" fmla="*/ 0 h 594235"/>
                    <a:gd name="connsiteX22" fmla="*/ 482747 w 607933"/>
                    <a:gd name="connsiteY22" fmla="*/ 178576 h 594235"/>
                    <a:gd name="connsiteX23" fmla="*/ 338714 w 607933"/>
                    <a:gd name="connsiteY23" fmla="*/ 454376 h 594235"/>
                    <a:gd name="connsiteX24" fmla="*/ 304941 w 607933"/>
                    <a:gd name="connsiteY24" fmla="*/ 472234 h 594235"/>
                    <a:gd name="connsiteX25" fmla="*/ 270175 w 607933"/>
                    <a:gd name="connsiteY25" fmla="*/ 454376 h 594235"/>
                    <a:gd name="connsiteX26" fmla="*/ 126142 w 607933"/>
                    <a:gd name="connsiteY26" fmla="*/ 178576 h 594235"/>
                    <a:gd name="connsiteX27" fmla="*/ 304941 w 607933"/>
                    <a:gd name="connsiteY27" fmla="*/ 0 h 594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07933" h="594235">
                      <a:moveTo>
                        <a:pt x="163904" y="368072"/>
                      </a:moveTo>
                      <a:cubicBezTo>
                        <a:pt x="173837" y="383943"/>
                        <a:pt x="183771" y="399814"/>
                        <a:pt x="194698" y="416677"/>
                      </a:cubicBezTo>
                      <a:cubicBezTo>
                        <a:pt x="100329" y="430564"/>
                        <a:pt x="52648" y="460323"/>
                        <a:pt x="52648" y="475202"/>
                      </a:cubicBezTo>
                      <a:cubicBezTo>
                        <a:pt x="52648" y="495041"/>
                        <a:pt x="138076" y="542654"/>
                        <a:pt x="303966" y="542654"/>
                      </a:cubicBezTo>
                      <a:cubicBezTo>
                        <a:pt x="469857" y="542654"/>
                        <a:pt x="555285" y="495041"/>
                        <a:pt x="555285" y="475202"/>
                      </a:cubicBezTo>
                      <a:cubicBezTo>
                        <a:pt x="555285" y="460323"/>
                        <a:pt x="506611" y="430564"/>
                        <a:pt x="412242" y="416677"/>
                      </a:cubicBezTo>
                      <a:cubicBezTo>
                        <a:pt x="424162" y="399814"/>
                        <a:pt x="434096" y="383943"/>
                        <a:pt x="444030" y="368072"/>
                      </a:cubicBezTo>
                      <a:cubicBezTo>
                        <a:pt x="536412" y="385927"/>
                        <a:pt x="607933" y="421637"/>
                        <a:pt x="607933" y="475202"/>
                      </a:cubicBezTo>
                      <a:cubicBezTo>
                        <a:pt x="607933" y="553565"/>
                        <a:pt x="454956" y="594235"/>
                        <a:pt x="303966" y="594235"/>
                      </a:cubicBezTo>
                      <a:cubicBezTo>
                        <a:pt x="152977" y="594235"/>
                        <a:pt x="0" y="553565"/>
                        <a:pt x="0" y="475202"/>
                      </a:cubicBezTo>
                      <a:cubicBezTo>
                        <a:pt x="0" y="421637"/>
                        <a:pt x="70528" y="385927"/>
                        <a:pt x="163904" y="368072"/>
                      </a:cubicBezTo>
                      <a:close/>
                      <a:moveTo>
                        <a:pt x="304444" y="119134"/>
                      </a:moveTo>
                      <a:cubicBezTo>
                        <a:pt x="339849" y="119134"/>
                        <a:pt x="368550" y="147978"/>
                        <a:pt x="368550" y="183559"/>
                      </a:cubicBezTo>
                      <a:cubicBezTo>
                        <a:pt x="368550" y="219140"/>
                        <a:pt x="339849" y="247984"/>
                        <a:pt x="304444" y="247984"/>
                      </a:cubicBezTo>
                      <a:cubicBezTo>
                        <a:pt x="269039" y="247984"/>
                        <a:pt x="240338" y="219140"/>
                        <a:pt x="240338" y="183559"/>
                      </a:cubicBezTo>
                      <a:cubicBezTo>
                        <a:pt x="240338" y="147978"/>
                        <a:pt x="269039" y="119134"/>
                        <a:pt x="304444" y="119134"/>
                      </a:cubicBezTo>
                      <a:close/>
                      <a:moveTo>
                        <a:pt x="304941" y="78375"/>
                      </a:moveTo>
                      <a:cubicBezTo>
                        <a:pt x="246335" y="78375"/>
                        <a:pt x="198655" y="125003"/>
                        <a:pt x="198655" y="183536"/>
                      </a:cubicBezTo>
                      <a:cubicBezTo>
                        <a:pt x="198655" y="242070"/>
                        <a:pt x="246335" y="288698"/>
                        <a:pt x="304941" y="288698"/>
                      </a:cubicBezTo>
                      <a:cubicBezTo>
                        <a:pt x="362554" y="288698"/>
                        <a:pt x="410234" y="242070"/>
                        <a:pt x="410234" y="183536"/>
                      </a:cubicBezTo>
                      <a:cubicBezTo>
                        <a:pt x="410234" y="125003"/>
                        <a:pt x="362554" y="78375"/>
                        <a:pt x="304941" y="78375"/>
                      </a:cubicBezTo>
                      <a:close/>
                      <a:moveTo>
                        <a:pt x="304941" y="0"/>
                      </a:moveTo>
                      <a:cubicBezTo>
                        <a:pt x="403281" y="0"/>
                        <a:pt x="482747" y="80359"/>
                        <a:pt x="482747" y="178576"/>
                      </a:cubicBezTo>
                      <a:cubicBezTo>
                        <a:pt x="482747" y="249014"/>
                        <a:pt x="391361" y="383938"/>
                        <a:pt x="338714" y="454376"/>
                      </a:cubicBezTo>
                      <a:cubicBezTo>
                        <a:pt x="330768" y="465289"/>
                        <a:pt x="317854" y="472234"/>
                        <a:pt x="304941" y="472234"/>
                      </a:cubicBezTo>
                      <a:cubicBezTo>
                        <a:pt x="291035" y="472234"/>
                        <a:pt x="278121" y="465289"/>
                        <a:pt x="270175" y="454376"/>
                      </a:cubicBezTo>
                      <a:cubicBezTo>
                        <a:pt x="217528" y="383938"/>
                        <a:pt x="126142" y="249014"/>
                        <a:pt x="126142" y="178576"/>
                      </a:cubicBezTo>
                      <a:cubicBezTo>
                        <a:pt x="126142" y="80359"/>
                        <a:pt x="205608" y="0"/>
                        <a:pt x="304941" y="0"/>
                      </a:cubicBezTo>
                      <a:close/>
                    </a:path>
                  </a:pathLst>
                </a:custGeom>
                <a:solidFill>
                  <a:schemeClr val="accent2"/>
                </a:solidFill>
                <a:ln>
                  <a:noFill/>
                </a:ln>
              </p:spPr>
              <p:txBody>
                <a:bodyPr wrap="square" lIns="91440" tIns="45720" rIns="91440" bIns="45720">
                  <a:normAutofit fontScale="8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grpSp>
          <p:nvGrpSpPr>
            <p:cNvPr id="91" name="iŝlîdè"/>
            <p:cNvGrpSpPr/>
            <p:nvPr/>
          </p:nvGrpSpPr>
          <p:grpSpPr>
            <a:xfrm>
              <a:off x="8258721" y="1481125"/>
              <a:ext cx="3294336" cy="3747541"/>
              <a:chOff x="694557" y="1481125"/>
              <a:chExt cx="3294336" cy="3747541"/>
            </a:xfrm>
          </p:grpSpPr>
          <p:sp>
            <p:nvSpPr>
              <p:cNvPr id="94" name="íşļîḍê"/>
              <p:cNvSpPr/>
              <p:nvPr/>
            </p:nvSpPr>
            <p:spPr bwMode="auto">
              <a:xfrm>
                <a:off x="694557" y="2889340"/>
                <a:ext cx="3294336" cy="2339326"/>
              </a:xfrm>
              <a:custGeom>
                <a:avLst/>
                <a:gdLst>
                  <a:gd name="T0" fmla="*/ 559 w 1046"/>
                  <a:gd name="T1" fmla="*/ 39 h 650"/>
                  <a:gd name="T2" fmla="*/ 523 w 1046"/>
                  <a:gd name="T3" fmla="*/ 0 h 650"/>
                  <a:gd name="T4" fmla="*/ 487 w 1046"/>
                  <a:gd name="T5" fmla="*/ 39 h 650"/>
                  <a:gd name="T6" fmla="*/ 0 w 1046"/>
                  <a:gd name="T7" fmla="*/ 39 h 650"/>
                  <a:gd name="T8" fmla="*/ 0 w 1046"/>
                  <a:gd name="T9" fmla="*/ 650 h 650"/>
                  <a:gd name="T10" fmla="*/ 523 w 1046"/>
                  <a:gd name="T11" fmla="*/ 609 h 650"/>
                  <a:gd name="T12" fmla="*/ 1046 w 1046"/>
                  <a:gd name="T13" fmla="*/ 650 h 650"/>
                  <a:gd name="T14" fmla="*/ 1046 w 1046"/>
                  <a:gd name="T15" fmla="*/ 39 h 650"/>
                  <a:gd name="T16" fmla="*/ 559 w 1046"/>
                  <a:gd name="T17" fmla="*/ 39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6" h="650">
                    <a:moveTo>
                      <a:pt x="559" y="39"/>
                    </a:moveTo>
                    <a:cubicBezTo>
                      <a:pt x="523" y="0"/>
                      <a:pt x="523" y="0"/>
                      <a:pt x="523" y="0"/>
                    </a:cubicBezTo>
                    <a:cubicBezTo>
                      <a:pt x="487" y="39"/>
                      <a:pt x="487" y="39"/>
                      <a:pt x="487" y="39"/>
                    </a:cubicBezTo>
                    <a:cubicBezTo>
                      <a:pt x="0" y="39"/>
                      <a:pt x="0" y="39"/>
                      <a:pt x="0" y="39"/>
                    </a:cubicBezTo>
                    <a:cubicBezTo>
                      <a:pt x="0" y="650"/>
                      <a:pt x="0" y="650"/>
                      <a:pt x="0" y="650"/>
                    </a:cubicBezTo>
                    <a:cubicBezTo>
                      <a:pt x="142" y="625"/>
                      <a:pt x="324" y="609"/>
                      <a:pt x="523" y="609"/>
                    </a:cubicBezTo>
                    <a:cubicBezTo>
                      <a:pt x="722" y="609"/>
                      <a:pt x="904" y="625"/>
                      <a:pt x="1046" y="650"/>
                    </a:cubicBezTo>
                    <a:cubicBezTo>
                      <a:pt x="1046" y="39"/>
                      <a:pt x="1046" y="39"/>
                      <a:pt x="1046" y="39"/>
                    </a:cubicBezTo>
                    <a:lnTo>
                      <a:pt x="559" y="39"/>
                    </a:lnTo>
                    <a:close/>
                  </a:path>
                </a:pathLst>
              </a:custGeom>
              <a:solidFill>
                <a:schemeClr val="bg1"/>
              </a:solidFill>
              <a:ln w="3175">
                <a:solidFill>
                  <a:schemeClr val="bg1">
                    <a:lumMod val="95000"/>
                  </a:schemeClr>
                </a:solidFill>
              </a:ln>
              <a:effectLst>
                <a:outerShdw blurRad="63500" sx="102000" sy="102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en-US">
                  <a:solidFill>
                    <a:schemeClr val="lt1"/>
                  </a:solidFill>
                </a:endParaRPr>
              </a:p>
            </p:txBody>
          </p:sp>
          <p:grpSp>
            <p:nvGrpSpPr>
              <p:cNvPr id="95" name="îSľïḋe"/>
              <p:cNvGrpSpPr/>
              <p:nvPr/>
            </p:nvGrpSpPr>
            <p:grpSpPr>
              <a:xfrm>
                <a:off x="770644" y="3298978"/>
                <a:ext cx="3077735" cy="1566480"/>
                <a:chOff x="4938907" y="3168293"/>
                <a:chExt cx="2317112" cy="1566480"/>
              </a:xfrm>
            </p:grpSpPr>
            <p:sp>
              <p:nvSpPr>
                <p:cNvPr id="100" name="î$ḷîḓê"/>
                <p:cNvSpPr txBox="1"/>
                <p:nvPr/>
              </p:nvSpPr>
              <p:spPr bwMode="auto">
                <a:xfrm>
                  <a:off x="4985894" y="3168293"/>
                  <a:ext cx="2270125" cy="503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fontScale="70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spcBef>
                      <a:spcPct val="0"/>
                    </a:spcBef>
                  </a:pPr>
                  <a:r>
                    <a:rPr lang="fr-FR" altLang="zh-CN" b="1" dirty="0" smtClean="0"/>
                    <a:t>Renforcement </a:t>
                  </a:r>
                  <a:r>
                    <a:rPr lang="fr-FR" altLang="zh-CN" b="1" dirty="0"/>
                    <a:t>de la supervision de l'application clinique des nouvelles technologies</a:t>
                  </a:r>
                  <a:endParaRPr lang="en-US" altLang="zh-CN" b="1" dirty="0"/>
                </a:p>
              </p:txBody>
            </p:sp>
            <p:sp>
              <p:nvSpPr>
                <p:cNvPr id="101" name="ïṥḻîḓé"/>
                <p:cNvSpPr/>
                <p:nvPr/>
              </p:nvSpPr>
              <p:spPr bwMode="auto">
                <a:xfrm>
                  <a:off x="4938907" y="3570686"/>
                  <a:ext cx="2270125" cy="116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endParaRPr lang="fr-FR" altLang="zh-CN" sz="1000" dirty="0"/>
                </a:p>
                <a:p>
                  <a:pPr>
                    <a:lnSpc>
                      <a:spcPct val="150000"/>
                    </a:lnSpc>
                  </a:pPr>
                  <a:r>
                    <a:rPr lang="fr-FR" altLang="zh-CN" sz="1000" dirty="0"/>
                    <a:t>1. Se concentrer sur la supervision de l'élaboration, du classement, de la soumission et de la divulgation d'informations des applications cliniques des nouvelles technologies médicales qui sont restreintes</a:t>
                  </a:r>
                </a:p>
                <a:p>
                  <a:pPr>
                    <a:lnSpc>
                      <a:spcPct val="150000"/>
                    </a:lnSpc>
                  </a:pPr>
                  <a:r>
                    <a:rPr lang="fr-FR" altLang="zh-CN" sz="1000" dirty="0"/>
                    <a:t>2. Punir sévèrement les violations de l'application clinique de la technologie médicale, le défaut d'enregistrer, de fournir de faux documents, de ne pas soumettre les informations requises et de mener des applications cliniques interdites</a:t>
                  </a:r>
                  <a:endParaRPr lang="en-US" altLang="zh-CN" sz="1000" dirty="0"/>
                </a:p>
              </p:txBody>
            </p:sp>
          </p:grpSp>
          <p:sp>
            <p:nvSpPr>
              <p:cNvPr id="96" name="íSļïḍê"/>
              <p:cNvSpPr/>
              <p:nvPr/>
            </p:nvSpPr>
            <p:spPr>
              <a:xfrm>
                <a:off x="1599807" y="1721448"/>
                <a:ext cx="1415522" cy="1414866"/>
              </a:xfrm>
              <a:custGeom>
                <a:avLst/>
                <a:gdLst>
                  <a:gd name="connsiteX0" fmla="*/ 0 w 1260455"/>
                  <a:gd name="connsiteY0" fmla="*/ 630228 h 1260455"/>
                  <a:gd name="connsiteX1" fmla="*/ 630228 w 1260455"/>
                  <a:gd name="connsiteY1" fmla="*/ 0 h 1260455"/>
                  <a:gd name="connsiteX2" fmla="*/ 1260456 w 1260455"/>
                  <a:gd name="connsiteY2" fmla="*/ 630228 h 1260455"/>
                  <a:gd name="connsiteX3" fmla="*/ 630228 w 1260455"/>
                  <a:gd name="connsiteY3" fmla="*/ 1260456 h 1260455"/>
                  <a:gd name="connsiteX4" fmla="*/ 0 w 1260455"/>
                  <a:gd name="connsiteY4" fmla="*/ 630228 h 1260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0455" h="1260455">
                    <a:moveTo>
                      <a:pt x="0" y="630228"/>
                    </a:moveTo>
                    <a:cubicBezTo>
                      <a:pt x="0" y="282163"/>
                      <a:pt x="282163" y="0"/>
                      <a:pt x="630228" y="0"/>
                    </a:cubicBezTo>
                    <a:cubicBezTo>
                      <a:pt x="978293" y="0"/>
                      <a:pt x="1260456" y="282163"/>
                      <a:pt x="1260456" y="630228"/>
                    </a:cubicBezTo>
                    <a:cubicBezTo>
                      <a:pt x="1260456" y="978293"/>
                      <a:pt x="978293" y="1260456"/>
                      <a:pt x="630228" y="1260456"/>
                    </a:cubicBezTo>
                    <a:cubicBezTo>
                      <a:pt x="282163" y="1260456"/>
                      <a:pt x="0" y="978293"/>
                      <a:pt x="0" y="630228"/>
                    </a:cubicBezTo>
                    <a:close/>
                  </a:path>
                </a:pathLst>
              </a:custGeom>
              <a:blipFill>
                <a:blip r:embed="rId6"/>
                <a:stretch>
                  <a:fillRect l="-39196" r="-38500"/>
                </a:stretch>
              </a:blipFill>
              <a:ln w="19050">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endParaRPr lang="zh-CN" altLang="en-US" sz="2000" b="1" dirty="0">
                  <a:solidFill>
                    <a:schemeClr val="bg1"/>
                  </a:solidFill>
                </a:endParaRPr>
              </a:p>
            </p:txBody>
          </p:sp>
          <p:grpSp>
            <p:nvGrpSpPr>
              <p:cNvPr id="97" name="iṣľîḋê"/>
              <p:cNvGrpSpPr/>
              <p:nvPr/>
            </p:nvGrpSpPr>
            <p:grpSpPr>
              <a:xfrm>
                <a:off x="2067245" y="1481125"/>
                <a:ext cx="480646" cy="480646"/>
                <a:chOff x="4628517" y="1170589"/>
                <a:chExt cx="631578" cy="631578"/>
              </a:xfrm>
            </p:grpSpPr>
            <p:sp>
              <p:nvSpPr>
                <p:cNvPr id="98" name="îṥ1ïde"/>
                <p:cNvSpPr/>
                <p:nvPr/>
              </p:nvSpPr>
              <p:spPr>
                <a:xfrm>
                  <a:off x="4628517" y="1170589"/>
                  <a:ext cx="631578" cy="631578"/>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en-US"/>
                </a:p>
              </p:txBody>
            </p:sp>
            <p:sp>
              <p:nvSpPr>
                <p:cNvPr id="99" name="ïŝľíḍé"/>
                <p:cNvSpPr/>
                <p:nvPr/>
              </p:nvSpPr>
              <p:spPr bwMode="auto">
                <a:xfrm>
                  <a:off x="4783953" y="1329638"/>
                  <a:ext cx="320706" cy="313480"/>
                </a:xfrm>
                <a:custGeom>
                  <a:avLst/>
                  <a:gdLst>
                    <a:gd name="connsiteX0" fmla="*/ 163904 w 607933"/>
                    <a:gd name="connsiteY0" fmla="*/ 368072 h 594235"/>
                    <a:gd name="connsiteX1" fmla="*/ 194698 w 607933"/>
                    <a:gd name="connsiteY1" fmla="*/ 416677 h 594235"/>
                    <a:gd name="connsiteX2" fmla="*/ 52648 w 607933"/>
                    <a:gd name="connsiteY2" fmla="*/ 475202 h 594235"/>
                    <a:gd name="connsiteX3" fmla="*/ 303966 w 607933"/>
                    <a:gd name="connsiteY3" fmla="*/ 542654 h 594235"/>
                    <a:gd name="connsiteX4" fmla="*/ 555285 w 607933"/>
                    <a:gd name="connsiteY4" fmla="*/ 475202 h 594235"/>
                    <a:gd name="connsiteX5" fmla="*/ 412242 w 607933"/>
                    <a:gd name="connsiteY5" fmla="*/ 416677 h 594235"/>
                    <a:gd name="connsiteX6" fmla="*/ 444030 w 607933"/>
                    <a:gd name="connsiteY6" fmla="*/ 368072 h 594235"/>
                    <a:gd name="connsiteX7" fmla="*/ 607933 w 607933"/>
                    <a:gd name="connsiteY7" fmla="*/ 475202 h 594235"/>
                    <a:gd name="connsiteX8" fmla="*/ 303966 w 607933"/>
                    <a:gd name="connsiteY8" fmla="*/ 594235 h 594235"/>
                    <a:gd name="connsiteX9" fmla="*/ 0 w 607933"/>
                    <a:gd name="connsiteY9" fmla="*/ 475202 h 594235"/>
                    <a:gd name="connsiteX10" fmla="*/ 163904 w 607933"/>
                    <a:gd name="connsiteY10" fmla="*/ 368072 h 594235"/>
                    <a:gd name="connsiteX11" fmla="*/ 304444 w 607933"/>
                    <a:gd name="connsiteY11" fmla="*/ 119134 h 594235"/>
                    <a:gd name="connsiteX12" fmla="*/ 368550 w 607933"/>
                    <a:gd name="connsiteY12" fmla="*/ 183559 h 594235"/>
                    <a:gd name="connsiteX13" fmla="*/ 304444 w 607933"/>
                    <a:gd name="connsiteY13" fmla="*/ 247984 h 594235"/>
                    <a:gd name="connsiteX14" fmla="*/ 240338 w 607933"/>
                    <a:gd name="connsiteY14" fmla="*/ 183559 h 594235"/>
                    <a:gd name="connsiteX15" fmla="*/ 304444 w 607933"/>
                    <a:gd name="connsiteY15" fmla="*/ 119134 h 594235"/>
                    <a:gd name="connsiteX16" fmla="*/ 304941 w 607933"/>
                    <a:gd name="connsiteY16" fmla="*/ 78375 h 594235"/>
                    <a:gd name="connsiteX17" fmla="*/ 198655 w 607933"/>
                    <a:gd name="connsiteY17" fmla="*/ 183536 h 594235"/>
                    <a:gd name="connsiteX18" fmla="*/ 304941 w 607933"/>
                    <a:gd name="connsiteY18" fmla="*/ 288698 h 594235"/>
                    <a:gd name="connsiteX19" fmla="*/ 410234 w 607933"/>
                    <a:gd name="connsiteY19" fmla="*/ 183536 h 594235"/>
                    <a:gd name="connsiteX20" fmla="*/ 304941 w 607933"/>
                    <a:gd name="connsiteY20" fmla="*/ 78375 h 594235"/>
                    <a:gd name="connsiteX21" fmla="*/ 304941 w 607933"/>
                    <a:gd name="connsiteY21" fmla="*/ 0 h 594235"/>
                    <a:gd name="connsiteX22" fmla="*/ 482747 w 607933"/>
                    <a:gd name="connsiteY22" fmla="*/ 178576 h 594235"/>
                    <a:gd name="connsiteX23" fmla="*/ 338714 w 607933"/>
                    <a:gd name="connsiteY23" fmla="*/ 454376 h 594235"/>
                    <a:gd name="connsiteX24" fmla="*/ 304941 w 607933"/>
                    <a:gd name="connsiteY24" fmla="*/ 472234 h 594235"/>
                    <a:gd name="connsiteX25" fmla="*/ 270175 w 607933"/>
                    <a:gd name="connsiteY25" fmla="*/ 454376 h 594235"/>
                    <a:gd name="connsiteX26" fmla="*/ 126142 w 607933"/>
                    <a:gd name="connsiteY26" fmla="*/ 178576 h 594235"/>
                    <a:gd name="connsiteX27" fmla="*/ 304941 w 607933"/>
                    <a:gd name="connsiteY27" fmla="*/ 0 h 594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07933" h="594235">
                      <a:moveTo>
                        <a:pt x="163904" y="368072"/>
                      </a:moveTo>
                      <a:cubicBezTo>
                        <a:pt x="173837" y="383943"/>
                        <a:pt x="183771" y="399814"/>
                        <a:pt x="194698" y="416677"/>
                      </a:cubicBezTo>
                      <a:cubicBezTo>
                        <a:pt x="100329" y="430564"/>
                        <a:pt x="52648" y="460323"/>
                        <a:pt x="52648" y="475202"/>
                      </a:cubicBezTo>
                      <a:cubicBezTo>
                        <a:pt x="52648" y="495041"/>
                        <a:pt x="138076" y="542654"/>
                        <a:pt x="303966" y="542654"/>
                      </a:cubicBezTo>
                      <a:cubicBezTo>
                        <a:pt x="469857" y="542654"/>
                        <a:pt x="555285" y="495041"/>
                        <a:pt x="555285" y="475202"/>
                      </a:cubicBezTo>
                      <a:cubicBezTo>
                        <a:pt x="555285" y="460323"/>
                        <a:pt x="506611" y="430564"/>
                        <a:pt x="412242" y="416677"/>
                      </a:cubicBezTo>
                      <a:cubicBezTo>
                        <a:pt x="424162" y="399814"/>
                        <a:pt x="434096" y="383943"/>
                        <a:pt x="444030" y="368072"/>
                      </a:cubicBezTo>
                      <a:cubicBezTo>
                        <a:pt x="536412" y="385927"/>
                        <a:pt x="607933" y="421637"/>
                        <a:pt x="607933" y="475202"/>
                      </a:cubicBezTo>
                      <a:cubicBezTo>
                        <a:pt x="607933" y="553565"/>
                        <a:pt x="454956" y="594235"/>
                        <a:pt x="303966" y="594235"/>
                      </a:cubicBezTo>
                      <a:cubicBezTo>
                        <a:pt x="152977" y="594235"/>
                        <a:pt x="0" y="553565"/>
                        <a:pt x="0" y="475202"/>
                      </a:cubicBezTo>
                      <a:cubicBezTo>
                        <a:pt x="0" y="421637"/>
                        <a:pt x="70528" y="385927"/>
                        <a:pt x="163904" y="368072"/>
                      </a:cubicBezTo>
                      <a:close/>
                      <a:moveTo>
                        <a:pt x="304444" y="119134"/>
                      </a:moveTo>
                      <a:cubicBezTo>
                        <a:pt x="339849" y="119134"/>
                        <a:pt x="368550" y="147978"/>
                        <a:pt x="368550" y="183559"/>
                      </a:cubicBezTo>
                      <a:cubicBezTo>
                        <a:pt x="368550" y="219140"/>
                        <a:pt x="339849" y="247984"/>
                        <a:pt x="304444" y="247984"/>
                      </a:cubicBezTo>
                      <a:cubicBezTo>
                        <a:pt x="269039" y="247984"/>
                        <a:pt x="240338" y="219140"/>
                        <a:pt x="240338" y="183559"/>
                      </a:cubicBezTo>
                      <a:cubicBezTo>
                        <a:pt x="240338" y="147978"/>
                        <a:pt x="269039" y="119134"/>
                        <a:pt x="304444" y="119134"/>
                      </a:cubicBezTo>
                      <a:close/>
                      <a:moveTo>
                        <a:pt x="304941" y="78375"/>
                      </a:moveTo>
                      <a:cubicBezTo>
                        <a:pt x="246335" y="78375"/>
                        <a:pt x="198655" y="125003"/>
                        <a:pt x="198655" y="183536"/>
                      </a:cubicBezTo>
                      <a:cubicBezTo>
                        <a:pt x="198655" y="242070"/>
                        <a:pt x="246335" y="288698"/>
                        <a:pt x="304941" y="288698"/>
                      </a:cubicBezTo>
                      <a:cubicBezTo>
                        <a:pt x="362554" y="288698"/>
                        <a:pt x="410234" y="242070"/>
                        <a:pt x="410234" y="183536"/>
                      </a:cubicBezTo>
                      <a:cubicBezTo>
                        <a:pt x="410234" y="125003"/>
                        <a:pt x="362554" y="78375"/>
                        <a:pt x="304941" y="78375"/>
                      </a:cubicBezTo>
                      <a:close/>
                      <a:moveTo>
                        <a:pt x="304941" y="0"/>
                      </a:moveTo>
                      <a:cubicBezTo>
                        <a:pt x="403281" y="0"/>
                        <a:pt x="482747" y="80359"/>
                        <a:pt x="482747" y="178576"/>
                      </a:cubicBezTo>
                      <a:cubicBezTo>
                        <a:pt x="482747" y="249014"/>
                        <a:pt x="391361" y="383938"/>
                        <a:pt x="338714" y="454376"/>
                      </a:cubicBezTo>
                      <a:cubicBezTo>
                        <a:pt x="330768" y="465289"/>
                        <a:pt x="317854" y="472234"/>
                        <a:pt x="304941" y="472234"/>
                      </a:cubicBezTo>
                      <a:cubicBezTo>
                        <a:pt x="291035" y="472234"/>
                        <a:pt x="278121" y="465289"/>
                        <a:pt x="270175" y="454376"/>
                      </a:cubicBezTo>
                      <a:cubicBezTo>
                        <a:pt x="217528" y="383938"/>
                        <a:pt x="126142" y="249014"/>
                        <a:pt x="126142" y="178576"/>
                      </a:cubicBezTo>
                      <a:cubicBezTo>
                        <a:pt x="126142" y="80359"/>
                        <a:pt x="205608" y="0"/>
                        <a:pt x="304941" y="0"/>
                      </a:cubicBezTo>
                      <a:close/>
                    </a:path>
                  </a:pathLst>
                </a:custGeom>
                <a:solidFill>
                  <a:schemeClr val="accent3"/>
                </a:solidFill>
                <a:ln>
                  <a:noFill/>
                </a:ln>
              </p:spPr>
              <p:txBody>
                <a:bodyPr wrap="square" lIns="91440" tIns="45720" rIns="91440" bIns="45720">
                  <a:normAutofit fontScale="8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cxnSp>
          <p:nvCxnSpPr>
            <p:cNvPr id="92" name="直接连接符 91"/>
            <p:cNvCxnSpPr/>
            <p:nvPr/>
          </p:nvCxnSpPr>
          <p:spPr>
            <a:xfrm>
              <a:off x="4198609" y="1721448"/>
              <a:ext cx="0" cy="4412652"/>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93" name="直接连接符 92"/>
            <p:cNvCxnSpPr/>
            <p:nvPr/>
          </p:nvCxnSpPr>
          <p:spPr>
            <a:xfrm>
              <a:off x="7980691" y="1721448"/>
              <a:ext cx="0" cy="4412652"/>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08" name="think-cell Slide" r:id="rId7" imgW="0" imgH="0" progId="TCLayout.ActiveDocument.1">
                  <p:embed/>
                </p:oleObj>
              </mc:Choice>
              <mc:Fallback>
                <p:oleObj name="think-cell Slide" r:id="rId7" imgW="0" imgH="0" progId="TCLayout.ActiveDocument.1">
                  <p:embed/>
                  <p:pic>
                    <p:nvPicPr>
                      <p:cNvPr id="0" name="对象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矩形 1"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charset="0"/>
              <a:ea typeface="微软雅黑" pitchFamily="34" charset="-122"/>
              <a:cs typeface="+mj-cs"/>
              <a:sym typeface="Arial" charset="0"/>
            </a:endParaRPr>
          </a:p>
        </p:txBody>
      </p:sp>
      <p:sp>
        <p:nvSpPr>
          <p:cNvPr id="11" name="标题 10"/>
          <p:cNvSpPr>
            <a:spLocks noGrp="1"/>
          </p:cNvSpPr>
          <p:nvPr>
            <p:ph type="ctrTitle"/>
          </p:nvPr>
        </p:nvSpPr>
        <p:spPr>
          <a:xfrm>
            <a:off x="1753227" y="353721"/>
            <a:ext cx="5068288" cy="2140857"/>
          </a:xfrm>
        </p:spPr>
        <p:txBody>
          <a:bodyPr>
            <a:noAutofit/>
          </a:bodyPr>
          <a:lstStyle/>
          <a:p>
            <a:pPr>
              <a:lnSpc>
                <a:spcPct val="100000"/>
              </a:lnSpc>
            </a:pPr>
            <a:r>
              <a:rPr lang="fr-FR" altLang="zh-CN" sz="3200" dirty="0" smtClean="0"/>
              <a:t/>
            </a:r>
            <a:br>
              <a:rPr lang="fr-FR" altLang="zh-CN" sz="3200" dirty="0" smtClean="0"/>
            </a:br>
            <a:r>
              <a:rPr lang="fr-FR" altLang="zh-CN" sz="3200" dirty="0" smtClean="0"/>
              <a:t>Merci </a:t>
            </a:r>
            <a:r>
              <a:rPr lang="fr-FR" altLang="zh-CN" sz="3200" dirty="0"/>
              <a:t>pour l'écoute</a:t>
            </a:r>
            <a:r>
              <a:rPr lang="en-US" altLang="zh-CN" sz="2800" dirty="0"/>
              <a:t/>
            </a:r>
            <a:br>
              <a:rPr lang="en-US" altLang="zh-CN" sz="2800" dirty="0"/>
            </a:br>
            <a:endParaRPr lang="zh-CN" altLang="en-US" sz="1050"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矩形 28"/>
          <p:cNvSpPr/>
          <p:nvPr/>
        </p:nvSpPr>
        <p:spPr>
          <a:xfrm rot="16200000">
            <a:off x="674804" y="2009706"/>
            <a:ext cx="1393593" cy="2743199"/>
          </a:xfrm>
          <a:prstGeom prst="rect">
            <a:avLst/>
          </a:prstGeom>
          <a:blipFill dpi="0" rotWithShape="0">
            <a:blip r:embed="rId4"/>
            <a:srcRect/>
            <a:stretch>
              <a:fillRect t="-6502" b="-6502"/>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18" name="267032" descr="OQAAAB+LCAAAAAAABACrVlIpqSxIVbJSCs5NLCpxyUxML0rM9SxJzVXSUfJMUbLKK83J0VFyysxLycxLdy/KLy0oVrKKjq0FALpUkis5AAAA" title="iSlide™ 版权声明  COPYRIGHT NOTICE"/>
          <p:cNvGrpSpPr>
            <a:grpSpLocks noChangeAspect="1"/>
          </p:cNvGrpSpPr>
          <p:nvPr>
            <p:custDataLst>
              <p:tags r:id="rId1"/>
            </p:custDataLst>
          </p:nvPr>
        </p:nvGrpSpPr>
        <p:grpSpPr>
          <a:xfrm>
            <a:off x="149412" y="689352"/>
            <a:ext cx="12042588" cy="5690962"/>
            <a:chOff x="149412" y="689352"/>
            <a:chExt cx="12042588" cy="5690962"/>
          </a:xfrm>
        </p:grpSpPr>
        <p:sp>
          <p:nvSpPr>
            <p:cNvPr id="20" name="îŝlíḋê"/>
            <p:cNvSpPr/>
            <p:nvPr/>
          </p:nvSpPr>
          <p:spPr>
            <a:xfrm>
              <a:off x="2279488" y="2684510"/>
              <a:ext cx="1397656" cy="1397656"/>
            </a:xfrm>
            <a:prstGeom prst="ellipse">
              <a:avLst/>
            </a:prstGeom>
            <a:solidFill>
              <a:schemeClr val="bg1">
                <a:lumMod val="75000"/>
              </a:schemeClr>
            </a:solidFill>
            <a:ln w="76200" cap="rnd">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r>
                <a:rPr lang="zh-CN" altLang="en-US" sz="2400" b="1" i="1" dirty="0">
                  <a:solidFill>
                    <a:schemeClr val="bg1"/>
                  </a:solidFill>
                  <a:effectLst>
                    <a:outerShdw blurRad="38100" dist="38100" dir="2700000" algn="tl">
                      <a:srgbClr val="000000">
                        <a:alpha val="43137"/>
                      </a:srgbClr>
                    </a:outerShdw>
                  </a:effectLst>
                </a:rPr>
                <a:t>目录</a:t>
              </a:r>
            </a:p>
          </p:txBody>
        </p:sp>
        <p:sp>
          <p:nvSpPr>
            <p:cNvPr id="21" name="îṩḷîḋé"/>
            <p:cNvSpPr/>
            <p:nvPr/>
          </p:nvSpPr>
          <p:spPr>
            <a:xfrm>
              <a:off x="11518899" y="2688574"/>
              <a:ext cx="673101" cy="1389529"/>
            </a:xfrm>
            <a:prstGeom prst="rect">
              <a:avLst/>
            </a:prstGeom>
            <a:solidFill>
              <a:schemeClr val="bg1">
                <a:lumMod val="95000"/>
              </a:schemeClr>
            </a:solid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defTabSz="913765"/>
              <a:endParaRPr lang="zh-CN" altLang="en-US" dirty="0"/>
            </a:p>
          </p:txBody>
        </p:sp>
        <p:sp>
          <p:nvSpPr>
            <p:cNvPr id="22" name="ïSľïḍê"/>
            <p:cNvSpPr/>
            <p:nvPr/>
          </p:nvSpPr>
          <p:spPr>
            <a:xfrm>
              <a:off x="149412" y="689352"/>
              <a:ext cx="4849906" cy="5690962"/>
            </a:xfrm>
            <a:prstGeom prst="arc">
              <a:avLst>
                <a:gd name="adj1" fmla="val 17900157"/>
                <a:gd name="adj2" fmla="val 4152763"/>
              </a:avLst>
            </a:prstGeom>
            <a:ln w="12700"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txBody>
            <a:bodyPr wrap="square" lIns="91440" tIns="45720" rIns="91440" bIns="45720" rtlCol="0" anchor="ctr">
              <a:normAutofit/>
            </a:bodyPr>
            <a:lstStyle/>
            <a:p>
              <a:pPr algn="ctr"/>
              <a:endParaRPr lang="zh-CN" altLang="en-US"/>
            </a:p>
          </p:txBody>
        </p:sp>
        <p:grpSp>
          <p:nvGrpSpPr>
            <p:cNvPr id="23" name="işľíďe"/>
            <p:cNvGrpSpPr/>
            <p:nvPr/>
          </p:nvGrpSpPr>
          <p:grpSpPr>
            <a:xfrm>
              <a:off x="4443508" y="2370848"/>
              <a:ext cx="4580782" cy="555810"/>
              <a:chOff x="4298160" y="2095869"/>
              <a:chExt cx="4580782" cy="555810"/>
            </a:xfrm>
          </p:grpSpPr>
          <p:sp>
            <p:nvSpPr>
              <p:cNvPr id="49" name="ïSḻíḍê"/>
              <p:cNvSpPr/>
              <p:nvPr/>
            </p:nvSpPr>
            <p:spPr>
              <a:xfrm>
                <a:off x="4298160" y="2095869"/>
                <a:ext cx="555810" cy="555810"/>
              </a:xfrm>
              <a:prstGeom prst="ellipse">
                <a:avLst/>
              </a:prstGeom>
              <a:solidFill>
                <a:schemeClr val="accent1"/>
              </a:solidFill>
              <a:ln w="19050" cap="rnd">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lnSpcReduction="10000"/>
              </a:bodyPr>
              <a:lstStyle/>
              <a:p>
                <a:pPr algn="ctr" defTabSz="913765"/>
                <a:r>
                  <a:rPr lang="en-US" altLang="zh-CN" sz="2000" b="1" dirty="0">
                    <a:solidFill>
                      <a:schemeClr val="bg1"/>
                    </a:solidFill>
                  </a:rPr>
                  <a:t>1</a:t>
                </a:r>
                <a:endParaRPr lang="zh-CN" altLang="en-US" sz="2000" b="1" dirty="0">
                  <a:solidFill>
                    <a:schemeClr val="bg1"/>
                  </a:solidFill>
                </a:endParaRPr>
              </a:p>
            </p:txBody>
          </p:sp>
          <p:sp>
            <p:nvSpPr>
              <p:cNvPr id="50" name="îšľíḍé"/>
              <p:cNvSpPr/>
              <p:nvPr/>
            </p:nvSpPr>
            <p:spPr bwMode="auto">
              <a:xfrm>
                <a:off x="4960530" y="2111122"/>
                <a:ext cx="3918412" cy="475128"/>
              </a:xfrm>
              <a:prstGeom prst="roundRect">
                <a:avLst>
                  <a:gd name="adj" fmla="val 50000"/>
                </a:avLst>
              </a:prstGeom>
              <a:noFill/>
              <a:ln w="3175">
                <a:solidFill>
                  <a:schemeClr val="bg1">
                    <a:lumMod val="75000"/>
                  </a:schemeClr>
                </a:solidFill>
                <a:miter lim="800000"/>
              </a:ln>
              <a:extLst>
                <a:ext uri="{909E8E84-426E-40DD-AFC4-6F175D3DCCD1}">
                  <a14:hiddenFill xmlns:a14="http://schemas.microsoft.com/office/drawing/2010/main">
                    <a:solidFill>
                      <a:srgbClr val="FFFFFF"/>
                    </a:solidFill>
                  </a14:hiddenFill>
                </a:ext>
              </a:extLst>
            </p:spPr>
            <p:txBody>
              <a:bodyPr wrap="square" lIns="91440" tIns="45720" rIns="91440" bIns="45720" anchor="ctr"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fr-FR" altLang="zh-CN" b="1" dirty="0"/>
                  <a:t>Notre </a:t>
                </a:r>
                <a:r>
                  <a:rPr lang="fr-FR" altLang="zh-CN" b="1" dirty="0" smtClean="0"/>
                  <a:t>pratique</a:t>
                </a:r>
                <a:endParaRPr lang="zh-CN" altLang="en-US" b="1" dirty="0"/>
              </a:p>
            </p:txBody>
          </p:sp>
        </p:grpSp>
        <p:grpSp>
          <p:nvGrpSpPr>
            <p:cNvPr id="24" name="ïṧḷidè"/>
            <p:cNvGrpSpPr/>
            <p:nvPr/>
          </p:nvGrpSpPr>
          <p:grpSpPr>
            <a:xfrm>
              <a:off x="4443508" y="4225455"/>
              <a:ext cx="4606420" cy="555810"/>
              <a:chOff x="4443508" y="4185020"/>
              <a:chExt cx="4606420" cy="555810"/>
            </a:xfrm>
          </p:grpSpPr>
          <p:sp>
            <p:nvSpPr>
              <p:cNvPr id="47" name="îṧḷïḑê"/>
              <p:cNvSpPr/>
              <p:nvPr/>
            </p:nvSpPr>
            <p:spPr>
              <a:xfrm>
                <a:off x="4443508" y="4185020"/>
                <a:ext cx="555810" cy="555810"/>
              </a:xfrm>
              <a:prstGeom prst="ellipse">
                <a:avLst/>
              </a:prstGeom>
              <a:solidFill>
                <a:schemeClr val="accent1"/>
              </a:solidFill>
              <a:ln w="19050" cap="rnd">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lnSpcReduction="10000"/>
              </a:bodyPr>
              <a:lstStyle/>
              <a:p>
                <a:pPr algn="ctr" defTabSz="913765"/>
                <a:r>
                  <a:rPr lang="en-US" altLang="zh-CN" sz="2000" b="1" dirty="0">
                    <a:solidFill>
                      <a:schemeClr val="bg1"/>
                    </a:solidFill>
                  </a:rPr>
                  <a:t>2</a:t>
                </a:r>
                <a:endParaRPr lang="zh-CN" altLang="en-US" sz="2000" b="1" dirty="0">
                  <a:solidFill>
                    <a:schemeClr val="bg1"/>
                  </a:solidFill>
                </a:endParaRPr>
              </a:p>
            </p:txBody>
          </p:sp>
          <p:sp>
            <p:nvSpPr>
              <p:cNvPr id="48" name="ïṡ1ïḋê"/>
              <p:cNvSpPr/>
              <p:nvPr/>
            </p:nvSpPr>
            <p:spPr bwMode="auto">
              <a:xfrm>
                <a:off x="5131516" y="4221254"/>
                <a:ext cx="3918412" cy="475128"/>
              </a:xfrm>
              <a:prstGeom prst="roundRect">
                <a:avLst>
                  <a:gd name="adj" fmla="val 50000"/>
                </a:avLst>
              </a:prstGeom>
              <a:noFill/>
              <a:ln w="3175">
                <a:solidFill>
                  <a:schemeClr val="bg1">
                    <a:lumMod val="75000"/>
                  </a:schemeClr>
                </a:solidFill>
                <a:miter lim="800000"/>
              </a:ln>
              <a:extLst>
                <a:ext uri="{909E8E84-426E-40DD-AFC4-6F175D3DCCD1}">
                  <a14:hiddenFill xmlns:a14="http://schemas.microsoft.com/office/drawing/2010/main">
                    <a:solidFill>
                      <a:srgbClr val="FFFFFF"/>
                    </a:solidFill>
                  </a14:hiddenFill>
                </a:ext>
              </a:extLst>
            </p:spPr>
            <p:txBody>
              <a:bodyPr wrap="square" lIns="91440" tIns="45720" rIns="91440" bIns="45720" anchor="ctr" anchorCtr="0">
                <a:noAutofit/>
              </a:bodyPr>
              <a:lstStyle/>
              <a:p>
                <a:r>
                  <a:rPr lang="fr-FR" altLang="zh-CN" b="1" dirty="0"/>
                  <a:t>Notre </a:t>
                </a:r>
                <a:r>
                  <a:rPr lang="fr-FR" altLang="zh-CN" b="1" dirty="0" smtClean="0"/>
                  <a:t>réflexion</a:t>
                </a:r>
                <a:endParaRPr lang="zh-CN" altLang="en-US" b="1" dirty="0"/>
              </a:p>
            </p:txBody>
          </p:sp>
        </p:grpSp>
      </p:gr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3386407" y="1903784"/>
            <a:ext cx="5419185" cy="895350"/>
          </a:xfrm>
        </p:spPr>
        <p:txBody>
          <a:bodyPr>
            <a:normAutofit fontScale="90000"/>
          </a:bodyPr>
          <a:lstStyle/>
          <a:p>
            <a:r>
              <a:rPr lang="fr-FR" altLang="zh-CN" sz="6000" dirty="0">
                <a:latin typeface="+mj-ea"/>
              </a:rPr>
              <a:t/>
            </a:r>
            <a:br>
              <a:rPr lang="fr-FR" altLang="zh-CN" sz="6000" dirty="0">
                <a:latin typeface="+mj-ea"/>
              </a:rPr>
            </a:br>
            <a:r>
              <a:rPr lang="fr-FR" altLang="zh-CN" sz="6000" dirty="0" smtClean="0"/>
              <a:t>Notre </a:t>
            </a:r>
            <a:r>
              <a:rPr lang="fr-FR" altLang="zh-CN" sz="6000" dirty="0"/>
              <a:t>pratique </a:t>
            </a:r>
            <a:endParaRPr lang="zh-CN" altLang="en-US" sz="6000" dirty="0">
              <a:latin typeface="+mj-ea"/>
            </a:endParaRPr>
          </a:p>
        </p:txBody>
      </p:sp>
      <p:sp>
        <p:nvSpPr>
          <p:cNvPr id="9" name="文本框 8"/>
          <p:cNvSpPr txBox="1"/>
          <p:nvPr/>
        </p:nvSpPr>
        <p:spPr>
          <a:xfrm>
            <a:off x="1987869" y="1903784"/>
            <a:ext cx="1029774" cy="895350"/>
          </a:xfrm>
          <a:prstGeom prst="rect">
            <a:avLst/>
          </a:prstGeom>
          <a:noFill/>
          <a:ln w="117475">
            <a:noFill/>
          </a:ln>
        </p:spPr>
        <p:txBody>
          <a:bodyPr wrap="none" rtlCol="0">
            <a:prstTxWarp prst="textPlain">
              <a:avLst/>
            </a:prstTxWarp>
            <a:spAutoFit/>
          </a:bodyPr>
          <a:lstStyle/>
          <a:p>
            <a:pPr algn="ctr"/>
            <a:r>
              <a:rPr lang="en-US" altLang="zh-CN" spc="100" dirty="0">
                <a:latin typeface="Impact" pitchFamily="34" charset="0"/>
                <a:cs typeface="Arial" charset="0"/>
              </a:rPr>
              <a:t>/01</a:t>
            </a:r>
            <a:endParaRPr lang="zh-CN" altLang="en-US" spc="100" dirty="0">
              <a:latin typeface="Impact" pitchFamily="34" charset="0"/>
              <a:cs typeface="Arial" charset="0"/>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fr-FR" altLang="zh-CN" dirty="0" smtClean="0"/>
              <a:t>But </a:t>
            </a:r>
            <a:r>
              <a:rPr lang="fr-FR" altLang="zh-CN" dirty="0"/>
              <a:t>et signification</a:t>
            </a:r>
            <a:endParaRPr lang="zh-CN" altLang="en-US" dirty="0"/>
          </a:p>
        </p:txBody>
      </p:sp>
      <p:sp>
        <p:nvSpPr>
          <p:cNvPr id="3" name="页脚占位符 2"/>
          <p:cNvSpPr>
            <a:spLocks noGrp="1"/>
          </p:cNvSpPr>
          <p:nvPr>
            <p:ph type="ftr" sz="quarter" idx="4294967295"/>
          </p:nvPr>
        </p:nvSpPr>
        <p:spPr>
          <a:xfrm>
            <a:off x="669924" y="6240463"/>
            <a:ext cx="4140201" cy="206381"/>
          </a:xfrm>
          <a:prstGeom prst="rect">
            <a:avLst/>
          </a:prstGeom>
        </p:spPr>
        <p:txBody>
          <a:bodyPr/>
          <a:lstStyle/>
          <a:p>
            <a:r>
              <a:rPr lang="en-US" altLang="zh-CN"/>
              <a:t>www.islide.cc</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t>4</a:t>
            </a:fld>
            <a:endParaRPr lang="zh-CN" altLang="en-US"/>
          </a:p>
        </p:txBody>
      </p:sp>
      <p:sp>
        <p:nvSpPr>
          <p:cNvPr id="6" name="íṩlíḋé"/>
          <p:cNvSpPr/>
          <p:nvPr/>
        </p:nvSpPr>
        <p:spPr>
          <a:xfrm>
            <a:off x="0" y="4494362"/>
            <a:ext cx="12192000" cy="2363638"/>
          </a:xfrm>
          <a:prstGeom prst="rect">
            <a:avLst/>
          </a:prstGeom>
          <a:solidFill>
            <a:schemeClr val="tx1">
              <a:lumMod val="75000"/>
              <a:lumOff val="25000"/>
            </a:schemeClr>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3765"/>
            <a:endParaRPr lang="zh-CN" altLang="en-US" sz="2000" b="1" dirty="0">
              <a:solidFill>
                <a:schemeClr val="bg1"/>
              </a:solidFill>
            </a:endParaRPr>
          </a:p>
        </p:txBody>
      </p:sp>
      <p:sp>
        <p:nvSpPr>
          <p:cNvPr id="7" name="ísliḓê"/>
          <p:cNvSpPr/>
          <p:nvPr/>
        </p:nvSpPr>
        <p:spPr>
          <a:xfrm>
            <a:off x="660400" y="1673524"/>
            <a:ext cx="4687977" cy="4460576"/>
          </a:xfrm>
          <a:prstGeom prst="rect">
            <a:avLst/>
          </a:prstGeom>
          <a:blipFill>
            <a:blip r:embed="rId3"/>
            <a:srcRect/>
            <a:stretch>
              <a:fillRect l="-21420" r="-21304"/>
            </a:stretch>
          </a:blipFill>
          <a:ln w="28575" cap="flat" cmpd="sng" algn="ctr">
            <a:noFill/>
            <a:prstDash val="solid"/>
            <a:miter lim="800000"/>
          </a:ln>
          <a:effectLst>
            <a:outerShdw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defTabSz="913765"/>
            <a:endParaRPr lang="zh-CN" altLang="en-US" dirty="0"/>
          </a:p>
        </p:txBody>
      </p:sp>
      <p:sp>
        <p:nvSpPr>
          <p:cNvPr id="8" name="í$liḍé"/>
          <p:cNvSpPr/>
          <p:nvPr/>
        </p:nvSpPr>
        <p:spPr>
          <a:xfrm>
            <a:off x="660400" y="1130300"/>
            <a:ext cx="4946770" cy="525972"/>
          </a:xfrm>
          <a:prstGeom prst="homePlate">
            <a:avLst/>
          </a:pr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buSzPct val="25000"/>
            </a:pPr>
            <a:endParaRPr lang="en-US" altLang="zh-CN" sz="1600" b="1" dirty="0"/>
          </a:p>
        </p:txBody>
      </p:sp>
      <p:sp>
        <p:nvSpPr>
          <p:cNvPr id="9" name="ïṡľïḋè"/>
          <p:cNvSpPr/>
          <p:nvPr/>
        </p:nvSpPr>
        <p:spPr bwMode="auto">
          <a:xfrm>
            <a:off x="5727940" y="1130300"/>
            <a:ext cx="5790960" cy="3364062"/>
          </a:xfrm>
          <a:prstGeom prst="rect">
            <a:avLst/>
          </a:prstGeom>
          <a:noFill/>
          <a:ln>
            <a:noFill/>
          </a:ln>
        </p:spPr>
        <p:txBody>
          <a:bodyPr wrap="square" lIns="91440" tIns="45720" rIns="91440" bIns="45720" anchor="t" anchorCtr="0">
            <a:normAutofit fontScale="625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nSpc>
                <a:spcPct val="150000"/>
              </a:lnSpc>
              <a:buClr>
                <a:schemeClr val="tx1"/>
              </a:buClr>
              <a:buSzPct val="150000"/>
              <a:defRPr/>
            </a:pPr>
            <a:r>
              <a:rPr lang="fr-FR" altLang="zh-CN" b="1" dirty="0" smtClean="0">
                <a:latin typeface="+mj-ea"/>
                <a:ea typeface="+mj-ea"/>
              </a:rPr>
              <a:t>Avec </a:t>
            </a:r>
            <a:r>
              <a:rPr lang="fr-FR" altLang="zh-CN" b="1" dirty="0">
                <a:latin typeface="+mj-ea"/>
                <a:ea typeface="+mj-ea"/>
              </a:rPr>
              <a:t>le développement continu de l'économie sociale et de la science et de la technologie, l'avancement continu de la technologie médicale et l'émergence continue de nouvelles technologies, il a joué un rôle important dans l'amélioration du diagnostic et du traitement des maladies et dans le maintien de la santé de la population;</a:t>
            </a:r>
          </a:p>
          <a:p>
            <a:pPr lvl="0">
              <a:lnSpc>
                <a:spcPct val="150000"/>
              </a:lnSpc>
              <a:buClr>
                <a:schemeClr val="tx1"/>
              </a:buClr>
              <a:buSzPct val="150000"/>
              <a:defRPr/>
            </a:pPr>
            <a:r>
              <a:rPr lang="fr-FR" altLang="zh-CN" b="1" dirty="0">
                <a:latin typeface="+mj-ea"/>
                <a:ea typeface="+mj-ea"/>
              </a:rPr>
              <a:t>        En tant que vecteur important de services médicaux, la technologie médicale, que la normalisation de l'application clinique des nouvelles technologies médicales soit liée à la qualité et à la sécurité médicales, est liée aux droits à la santé des personnes.</a:t>
            </a:r>
          </a:p>
          <a:p>
            <a:pPr lvl="0">
              <a:lnSpc>
                <a:spcPct val="150000"/>
              </a:lnSpc>
              <a:buClr>
                <a:schemeClr val="tx1"/>
              </a:buClr>
              <a:buSzPct val="150000"/>
              <a:defRPr/>
            </a:pPr>
            <a:r>
              <a:rPr lang="fr-FR" altLang="zh-CN" b="1" dirty="0">
                <a:latin typeface="+mj-ea"/>
                <a:ea typeface="+mj-ea"/>
              </a:rPr>
              <a:t>        Par conséquent, il est nécessaire de renforcer la gestion des applications cliniques des nouvelles technologies médicales, qui non seulement favorise le progrès de la technologie médicale et profite à la santé des patients, mais garantit également la qualité et la sécurité des soins médicaux et protège les droits et intérêts de la santé des patients.</a:t>
            </a:r>
            <a:endParaRPr lang="zh-CN" altLang="en-US" b="1" dirty="0">
              <a:latin typeface="+mj-ea"/>
              <a:ea typeface="+mj-ea"/>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fld id="{5DD3DB80-B894-403A-B48E-6FDC1A72010E}" type="slidenum">
              <a:rPr lang="zh-CN" altLang="en-US" smtClean="0"/>
              <a:t>5</a:t>
            </a:fld>
            <a:endParaRPr lang="zh-CN" altLang="en-US"/>
          </a:p>
        </p:txBody>
      </p:sp>
      <p:sp>
        <p:nvSpPr>
          <p:cNvPr id="6" name="íṣlïḓe"/>
          <p:cNvSpPr/>
          <p:nvPr/>
        </p:nvSpPr>
        <p:spPr>
          <a:xfrm>
            <a:off x="0" y="1130300"/>
            <a:ext cx="4914900" cy="1809749"/>
          </a:xfrm>
          <a:prstGeom prst="rect">
            <a:avLst/>
          </a:prstGeom>
          <a:blipFill>
            <a:blip r:embed="rId3"/>
            <a:srcRect/>
            <a:stretch>
              <a:fillRect t="-40812" b="-40241"/>
            </a:stretch>
          </a:blipFill>
          <a:ln w="19050">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lang="zh-CN" altLang="en-US"/>
          </a:p>
        </p:txBody>
      </p:sp>
      <p:sp>
        <p:nvSpPr>
          <p:cNvPr id="8" name="isļîďé"/>
          <p:cNvSpPr txBox="1"/>
          <p:nvPr/>
        </p:nvSpPr>
        <p:spPr>
          <a:xfrm>
            <a:off x="220727" y="3035299"/>
            <a:ext cx="4540110" cy="1181101"/>
          </a:xfrm>
          <a:prstGeom prst="rect">
            <a:avLst/>
          </a:prstGeom>
          <a:noFill/>
          <a:ln>
            <a:noFill/>
          </a:ln>
        </p:spPr>
        <p:txBody>
          <a:bodyPr wrap="square" lIns="91440" tIns="45720" rIns="91440" bIns="45720" anchor="t" anchorCtr="0">
            <a:normAutofit fontScale="8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buSzPct val="25000"/>
            </a:pPr>
            <a:r>
              <a:rPr lang="fr-FR" altLang="zh-CN" sz="2400" b="1" dirty="0" smtClean="0"/>
              <a:t>En </a:t>
            </a:r>
            <a:r>
              <a:rPr lang="fr-FR" altLang="zh-CN" sz="2400" b="1" dirty="0"/>
              <a:t>2018,</a:t>
            </a:r>
          </a:p>
          <a:p>
            <a:pPr algn="r">
              <a:buSzPct val="25000"/>
            </a:pPr>
            <a:r>
              <a:rPr lang="fr-FR" altLang="zh-CN" sz="2400" b="1" dirty="0"/>
              <a:t>Mesures de gestion des applications cliniques en technologie médicale</a:t>
            </a:r>
            <a:endParaRPr lang="en-US" altLang="zh-CN" sz="2400" b="1" dirty="0"/>
          </a:p>
        </p:txBody>
      </p:sp>
      <p:sp>
        <p:nvSpPr>
          <p:cNvPr id="9" name="îSļíḋé"/>
          <p:cNvSpPr txBox="1"/>
          <p:nvPr/>
        </p:nvSpPr>
        <p:spPr>
          <a:xfrm>
            <a:off x="5223035" y="1130300"/>
            <a:ext cx="6297452" cy="5316543"/>
          </a:xfrm>
          <a:prstGeom prst="rect">
            <a:avLst/>
          </a:prstGeom>
          <a:noFill/>
          <a:ln>
            <a:noFill/>
          </a:ln>
        </p:spPr>
        <p:txBody>
          <a:bodyPr wrap="square" lIns="91440" tIns="45720" rIns="91440" bIns="45720" anchor="t" anchorCtr="0">
            <a:normAutofit fontScale="85000" lnSpcReduction="20000"/>
          </a:bodyPr>
          <a:lstStyle>
            <a:defPPr>
              <a:defRPr lang="zh-CN"/>
            </a:defPPr>
            <a:lvl1pPr marL="171450" indent="-171450">
              <a:lnSpc>
                <a:spcPct val="160000"/>
              </a:lnSpc>
              <a:buFont typeface="Arial" charset="0"/>
              <a:buChar char="•"/>
              <a:defRPr sz="1100"/>
            </a:lvl1pPr>
          </a:lstStyle>
          <a:p>
            <a:pPr marL="0" lvl="0" indent="0">
              <a:lnSpc>
                <a:spcPct val="150000"/>
              </a:lnSpc>
              <a:buClr>
                <a:schemeClr val="tx1"/>
              </a:buClr>
              <a:buSzPct val="150000"/>
              <a:buNone/>
              <a:defRPr/>
            </a:pPr>
            <a:r>
              <a:rPr lang="fr-FR" altLang="zh-CN" sz="2000" b="1" dirty="0" smtClean="0">
                <a:latin typeface="+mn-ea"/>
              </a:rPr>
              <a:t>Effectuer </a:t>
            </a:r>
            <a:r>
              <a:rPr lang="fr-FR" altLang="zh-CN" sz="2000" b="1" dirty="0">
                <a:latin typeface="+mn-ea"/>
              </a:rPr>
              <a:t>une évaluation des nouvelles technologies conformément aux lois et règlements</a:t>
            </a:r>
          </a:p>
          <a:p>
            <a:pPr marL="0" lvl="0" indent="0">
              <a:lnSpc>
                <a:spcPct val="150000"/>
              </a:lnSpc>
              <a:buClr>
                <a:schemeClr val="tx1"/>
              </a:buClr>
              <a:buSzPct val="150000"/>
              <a:buNone/>
              <a:defRPr/>
            </a:pPr>
            <a:endParaRPr lang="fr-FR" altLang="zh-CN" sz="2000" dirty="0">
              <a:latin typeface="+mn-ea"/>
            </a:endParaRPr>
          </a:p>
          <a:p>
            <a:pPr marL="0" lvl="0" indent="0">
              <a:lnSpc>
                <a:spcPct val="150000"/>
              </a:lnSpc>
              <a:buClr>
                <a:schemeClr val="tx1"/>
              </a:buClr>
              <a:buSzPct val="150000"/>
              <a:buNone/>
              <a:defRPr/>
            </a:pPr>
            <a:r>
              <a:rPr lang="fr-FR" altLang="zh-CN" sz="2000" dirty="0">
                <a:latin typeface="+mn-ea"/>
              </a:rPr>
              <a:t>En 2018, la Commission nationale de la santé a publié les "Mesures administratives sur l'application clinique de la technologie médicale" (ci-après dénommées "Mesures")</a:t>
            </a:r>
          </a:p>
          <a:p>
            <a:pPr marL="0" lvl="0" indent="0">
              <a:lnSpc>
                <a:spcPct val="150000"/>
              </a:lnSpc>
              <a:buClr>
                <a:schemeClr val="tx1"/>
              </a:buClr>
              <a:buSzPct val="150000"/>
              <a:buNone/>
              <a:defRPr/>
            </a:pPr>
            <a:endParaRPr lang="fr-FR" altLang="zh-CN" sz="2000" dirty="0">
              <a:latin typeface="+mn-ea"/>
            </a:endParaRPr>
          </a:p>
          <a:p>
            <a:pPr marL="0" lvl="0" indent="0">
              <a:lnSpc>
                <a:spcPct val="150000"/>
              </a:lnSpc>
              <a:buClr>
                <a:schemeClr val="tx1"/>
              </a:buClr>
              <a:buSzPct val="150000"/>
              <a:buNone/>
              <a:defRPr/>
            </a:pPr>
            <a:r>
              <a:rPr lang="fr-FR" altLang="zh-CN" sz="2000" dirty="0">
                <a:latin typeface="+mn-ea"/>
              </a:rPr>
              <a:t>En 2019, Shanghai a promulgué les "Règles de mise en œuvre des mesures de gestion des applications cliniques des technologies médicales municipales de Shanghai" (ci-après dénommées "Règles de mise en œuvre"), qui clarifient le nouveau processus d'évaluation des technologies et renforcent la responsabilité principale des institutions médicales et la responsabilité de supervision du département administratif de la santé.</a:t>
            </a:r>
            <a:endParaRPr lang="en-US" altLang="zh-CN" sz="2000" dirty="0">
              <a:latin typeface="+mn-ea"/>
            </a:endParaRPr>
          </a:p>
          <a:p>
            <a:pPr marL="0" lvl="0" indent="0">
              <a:lnSpc>
                <a:spcPct val="150000"/>
              </a:lnSpc>
              <a:buClr>
                <a:schemeClr val="tx1"/>
              </a:buClr>
              <a:buSzPct val="150000"/>
              <a:buNone/>
              <a:defRPr/>
            </a:pPr>
            <a:endParaRPr lang="en-US" altLang="zh-CN" sz="2000" dirty="0">
              <a:latin typeface="+mn-ea"/>
            </a:endParaRPr>
          </a:p>
          <a:p>
            <a:pPr marL="0" lvl="0" indent="0">
              <a:lnSpc>
                <a:spcPct val="150000"/>
              </a:lnSpc>
              <a:buClr>
                <a:schemeClr val="tx1"/>
              </a:buClr>
              <a:buSzPct val="150000"/>
              <a:buNone/>
              <a:defRPr/>
            </a:pPr>
            <a:endParaRPr lang="zh-CN" altLang="en-US" sz="2000" dirty="0">
              <a:latin typeface="+mn-ea"/>
            </a:endParaRPr>
          </a:p>
        </p:txBody>
      </p:sp>
      <p:cxnSp>
        <p:nvCxnSpPr>
          <p:cNvPr id="10" name="直接连接符 9"/>
          <p:cNvCxnSpPr>
            <a:stCxn id="12" idx="4"/>
          </p:cNvCxnSpPr>
          <p:nvPr/>
        </p:nvCxnSpPr>
        <p:spPr>
          <a:xfrm>
            <a:off x="4914900" y="2346324"/>
            <a:ext cx="0" cy="3292476"/>
          </a:xfrm>
          <a:prstGeom prst="line">
            <a:avLst/>
          </a:prstGeom>
          <a:ln w="3175" cap="rnd">
            <a:solidFill>
              <a:schemeClr val="bg1">
                <a:lumMod val="75000"/>
              </a:schemeClr>
            </a:solidFill>
            <a:round/>
            <a:tailEnd type="oval"/>
          </a:ln>
        </p:spPr>
        <p:style>
          <a:lnRef idx="1">
            <a:schemeClr val="accent1"/>
          </a:lnRef>
          <a:fillRef idx="0">
            <a:schemeClr val="accent1"/>
          </a:fillRef>
          <a:effectRef idx="0">
            <a:schemeClr val="accent1"/>
          </a:effectRef>
          <a:fontRef idx="minor">
            <a:schemeClr val="tx1"/>
          </a:fontRef>
        </p:style>
      </p:cxnSp>
      <p:grpSp>
        <p:nvGrpSpPr>
          <p:cNvPr id="11" name="ïşľïdè"/>
          <p:cNvGrpSpPr/>
          <p:nvPr/>
        </p:nvGrpSpPr>
        <p:grpSpPr>
          <a:xfrm>
            <a:off x="4603750" y="1724024"/>
            <a:ext cx="622300" cy="622300"/>
            <a:chOff x="4849770" y="4185155"/>
            <a:chExt cx="876958" cy="876956"/>
          </a:xfrm>
        </p:grpSpPr>
        <p:sp>
          <p:nvSpPr>
            <p:cNvPr id="12" name="isḷíďê"/>
            <p:cNvSpPr/>
            <p:nvPr/>
          </p:nvSpPr>
          <p:spPr bwMode="auto">
            <a:xfrm>
              <a:off x="4849770" y="4185155"/>
              <a:ext cx="876958" cy="876956"/>
            </a:xfrm>
            <a:prstGeom prst="ellipse">
              <a:avLst/>
            </a:prstGeom>
            <a:solidFill>
              <a:schemeClr val="accent1"/>
            </a:solidFill>
            <a:ln w="28575">
              <a:solidFill>
                <a:schemeClr val="bg1"/>
              </a:solidFill>
            </a:ln>
            <a:effectLst/>
          </p:spPr>
          <p:txBody>
            <a:bodyPr wrap="square" lIns="91440" tIns="45720" rIns="91440" bIns="45720">
              <a:normAutofit fontScale="8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sz="3200"/>
            </a:p>
          </p:txBody>
        </p:sp>
        <p:sp>
          <p:nvSpPr>
            <p:cNvPr id="13" name="îṣlîḍé"/>
            <p:cNvSpPr/>
            <p:nvPr/>
          </p:nvSpPr>
          <p:spPr bwMode="auto">
            <a:xfrm>
              <a:off x="5071137" y="4435624"/>
              <a:ext cx="434232" cy="376038"/>
            </a:xfrm>
            <a:custGeom>
              <a:avLst/>
              <a:gdLst>
                <a:gd name="connsiteX0" fmla="*/ 332825 w 599014"/>
                <a:gd name="connsiteY0" fmla="*/ 323318 h 518742"/>
                <a:gd name="connsiteX1" fmla="*/ 480885 w 599014"/>
                <a:gd name="connsiteY1" fmla="*/ 323318 h 518742"/>
                <a:gd name="connsiteX2" fmla="*/ 508708 w 599014"/>
                <a:gd name="connsiteY2" fmla="*/ 351111 h 518742"/>
                <a:gd name="connsiteX3" fmla="*/ 480885 w 599014"/>
                <a:gd name="connsiteY3" fmla="*/ 378903 h 518742"/>
                <a:gd name="connsiteX4" fmla="*/ 332825 w 599014"/>
                <a:gd name="connsiteY4" fmla="*/ 378903 h 518742"/>
                <a:gd name="connsiteX5" fmla="*/ 305002 w 599014"/>
                <a:gd name="connsiteY5" fmla="*/ 351111 h 518742"/>
                <a:gd name="connsiteX6" fmla="*/ 332825 w 599014"/>
                <a:gd name="connsiteY6" fmla="*/ 323318 h 518742"/>
                <a:gd name="connsiteX7" fmla="*/ 332825 w 599014"/>
                <a:gd name="connsiteY7" fmla="*/ 230145 h 518742"/>
                <a:gd name="connsiteX8" fmla="*/ 480885 w 599014"/>
                <a:gd name="connsiteY8" fmla="*/ 230145 h 518742"/>
                <a:gd name="connsiteX9" fmla="*/ 508708 w 599014"/>
                <a:gd name="connsiteY9" fmla="*/ 257937 h 518742"/>
                <a:gd name="connsiteX10" fmla="*/ 480885 w 599014"/>
                <a:gd name="connsiteY10" fmla="*/ 285730 h 518742"/>
                <a:gd name="connsiteX11" fmla="*/ 332825 w 599014"/>
                <a:gd name="connsiteY11" fmla="*/ 285730 h 518742"/>
                <a:gd name="connsiteX12" fmla="*/ 305002 w 599014"/>
                <a:gd name="connsiteY12" fmla="*/ 257937 h 518742"/>
                <a:gd name="connsiteX13" fmla="*/ 332825 w 599014"/>
                <a:gd name="connsiteY13" fmla="*/ 230145 h 518742"/>
                <a:gd name="connsiteX14" fmla="*/ 24843 w 599014"/>
                <a:gd name="connsiteY14" fmla="*/ 151784 h 518742"/>
                <a:gd name="connsiteX15" fmla="*/ 183839 w 599014"/>
                <a:gd name="connsiteY15" fmla="*/ 151784 h 518742"/>
                <a:gd name="connsiteX16" fmla="*/ 207688 w 599014"/>
                <a:gd name="connsiteY16" fmla="*/ 176583 h 518742"/>
                <a:gd name="connsiteX17" fmla="*/ 207688 w 599014"/>
                <a:gd name="connsiteY17" fmla="*/ 329348 h 518742"/>
                <a:gd name="connsiteX18" fmla="*/ 182845 w 599014"/>
                <a:gd name="connsiteY18" fmla="*/ 354147 h 518742"/>
                <a:gd name="connsiteX19" fmla="*/ 163964 w 599014"/>
                <a:gd name="connsiteY19" fmla="*/ 344227 h 518742"/>
                <a:gd name="connsiteX20" fmla="*/ 155021 w 599014"/>
                <a:gd name="connsiteY20" fmla="*/ 494016 h 518742"/>
                <a:gd name="connsiteX21" fmla="*/ 129184 w 599014"/>
                <a:gd name="connsiteY21" fmla="*/ 516831 h 518742"/>
                <a:gd name="connsiteX22" fmla="*/ 78504 w 599014"/>
                <a:gd name="connsiteY22" fmla="*/ 516831 h 518742"/>
                <a:gd name="connsiteX23" fmla="*/ 53661 w 599014"/>
                <a:gd name="connsiteY23" fmla="*/ 494016 h 518742"/>
                <a:gd name="connsiteX24" fmla="*/ 43724 w 599014"/>
                <a:gd name="connsiteY24" fmla="*/ 345219 h 518742"/>
                <a:gd name="connsiteX25" fmla="*/ 24843 w 599014"/>
                <a:gd name="connsiteY25" fmla="*/ 354147 h 518742"/>
                <a:gd name="connsiteX26" fmla="*/ 994 w 599014"/>
                <a:gd name="connsiteY26" fmla="*/ 329348 h 518742"/>
                <a:gd name="connsiteX27" fmla="*/ 0 w 599014"/>
                <a:gd name="connsiteY27" fmla="*/ 176583 h 518742"/>
                <a:gd name="connsiteX28" fmla="*/ 24843 w 599014"/>
                <a:gd name="connsiteY28" fmla="*/ 151784 h 518742"/>
                <a:gd name="connsiteX29" fmla="*/ 332825 w 599014"/>
                <a:gd name="connsiteY29" fmla="*/ 137928 h 518742"/>
                <a:gd name="connsiteX30" fmla="*/ 480885 w 599014"/>
                <a:gd name="connsiteY30" fmla="*/ 137928 h 518742"/>
                <a:gd name="connsiteX31" fmla="*/ 508708 w 599014"/>
                <a:gd name="connsiteY31" fmla="*/ 165721 h 518742"/>
                <a:gd name="connsiteX32" fmla="*/ 480885 w 599014"/>
                <a:gd name="connsiteY32" fmla="*/ 193513 h 518742"/>
                <a:gd name="connsiteX33" fmla="*/ 332825 w 599014"/>
                <a:gd name="connsiteY33" fmla="*/ 193513 h 518742"/>
                <a:gd name="connsiteX34" fmla="*/ 305002 w 599014"/>
                <a:gd name="connsiteY34" fmla="*/ 165721 h 518742"/>
                <a:gd name="connsiteX35" fmla="*/ 332825 w 599014"/>
                <a:gd name="connsiteY35" fmla="*/ 137928 h 518742"/>
                <a:gd name="connsiteX36" fmla="*/ 347698 w 599014"/>
                <a:gd name="connsiteY36" fmla="*/ 55512 h 518742"/>
                <a:gd name="connsiteX37" fmla="*/ 347698 w 599014"/>
                <a:gd name="connsiteY37" fmla="*/ 61464 h 518742"/>
                <a:gd name="connsiteX38" fmla="*/ 283131 w 599014"/>
                <a:gd name="connsiteY38" fmla="*/ 124947 h 518742"/>
                <a:gd name="connsiteX39" fmla="*/ 276178 w 599014"/>
                <a:gd name="connsiteY39" fmla="*/ 124947 h 518742"/>
                <a:gd name="connsiteX40" fmla="*/ 276178 w 599014"/>
                <a:gd name="connsiteY40" fmla="*/ 456251 h 518742"/>
                <a:gd name="connsiteX41" fmla="*/ 283131 w 599014"/>
                <a:gd name="connsiteY41" fmla="*/ 463194 h 518742"/>
                <a:gd name="connsiteX42" fmla="*/ 536433 w 599014"/>
                <a:gd name="connsiteY42" fmla="*/ 463194 h 518742"/>
                <a:gd name="connsiteX43" fmla="*/ 543387 w 599014"/>
                <a:gd name="connsiteY43" fmla="*/ 456251 h 518742"/>
                <a:gd name="connsiteX44" fmla="*/ 542394 w 599014"/>
                <a:gd name="connsiteY44" fmla="*/ 62455 h 518742"/>
                <a:gd name="connsiteX45" fmla="*/ 536433 w 599014"/>
                <a:gd name="connsiteY45" fmla="*/ 55512 h 518742"/>
                <a:gd name="connsiteX46" fmla="*/ 337765 w 599014"/>
                <a:gd name="connsiteY46" fmla="*/ 956 h 518742"/>
                <a:gd name="connsiteX47" fmla="*/ 537427 w 599014"/>
                <a:gd name="connsiteY47" fmla="*/ 956 h 518742"/>
                <a:gd name="connsiteX48" fmla="*/ 599014 w 599014"/>
                <a:gd name="connsiteY48" fmla="*/ 62455 h 518742"/>
                <a:gd name="connsiteX49" fmla="*/ 599014 w 599014"/>
                <a:gd name="connsiteY49" fmla="*/ 456251 h 518742"/>
                <a:gd name="connsiteX50" fmla="*/ 537427 w 599014"/>
                <a:gd name="connsiteY50" fmla="*/ 518742 h 518742"/>
                <a:gd name="connsiteX51" fmla="*/ 283131 w 599014"/>
                <a:gd name="connsiteY51" fmla="*/ 518742 h 518742"/>
                <a:gd name="connsiteX52" fmla="*/ 221544 w 599014"/>
                <a:gd name="connsiteY52" fmla="*/ 456251 h 518742"/>
                <a:gd name="connsiteX53" fmla="*/ 221544 w 599014"/>
                <a:gd name="connsiteY53" fmla="*/ 117011 h 518742"/>
                <a:gd name="connsiteX54" fmla="*/ 237437 w 599014"/>
                <a:gd name="connsiteY54" fmla="*/ 79318 h 518742"/>
                <a:gd name="connsiteX55" fmla="*/ 298031 w 599014"/>
                <a:gd name="connsiteY55" fmla="*/ 17819 h 518742"/>
                <a:gd name="connsiteX56" fmla="*/ 301011 w 599014"/>
                <a:gd name="connsiteY56" fmla="*/ 15835 h 518742"/>
                <a:gd name="connsiteX57" fmla="*/ 337765 w 599014"/>
                <a:gd name="connsiteY57" fmla="*/ 956 h 518742"/>
                <a:gd name="connsiteX58" fmla="*/ 104322 w 599014"/>
                <a:gd name="connsiteY58" fmla="*/ 0 h 518742"/>
                <a:gd name="connsiteX59" fmla="*/ 171853 w 599014"/>
                <a:gd name="connsiteY59" fmla="*/ 67929 h 518742"/>
                <a:gd name="connsiteX60" fmla="*/ 104322 w 599014"/>
                <a:gd name="connsiteY60" fmla="*/ 135858 h 518742"/>
                <a:gd name="connsiteX61" fmla="*/ 36791 w 599014"/>
                <a:gd name="connsiteY61" fmla="*/ 67929 h 518742"/>
                <a:gd name="connsiteX62" fmla="*/ 104322 w 599014"/>
                <a:gd name="connsiteY62" fmla="*/ 0 h 518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599014" h="518742">
                  <a:moveTo>
                    <a:pt x="332825" y="323318"/>
                  </a:moveTo>
                  <a:lnTo>
                    <a:pt x="480885" y="323318"/>
                  </a:lnTo>
                  <a:cubicBezTo>
                    <a:pt x="495790" y="323318"/>
                    <a:pt x="507714" y="335229"/>
                    <a:pt x="508708" y="351111"/>
                  </a:cubicBezTo>
                  <a:cubicBezTo>
                    <a:pt x="508708" y="365999"/>
                    <a:pt x="495790" y="378903"/>
                    <a:pt x="480885" y="378903"/>
                  </a:cubicBezTo>
                  <a:lnTo>
                    <a:pt x="332825" y="378903"/>
                  </a:lnTo>
                  <a:cubicBezTo>
                    <a:pt x="317920" y="378903"/>
                    <a:pt x="305002" y="365999"/>
                    <a:pt x="305002" y="351111"/>
                  </a:cubicBezTo>
                  <a:cubicBezTo>
                    <a:pt x="305002" y="335229"/>
                    <a:pt x="317920" y="323318"/>
                    <a:pt x="332825" y="323318"/>
                  </a:cubicBezTo>
                  <a:close/>
                  <a:moveTo>
                    <a:pt x="332825" y="230145"/>
                  </a:moveTo>
                  <a:lnTo>
                    <a:pt x="480885" y="230145"/>
                  </a:lnTo>
                  <a:cubicBezTo>
                    <a:pt x="495790" y="230145"/>
                    <a:pt x="508708" y="243049"/>
                    <a:pt x="508708" y="257937"/>
                  </a:cubicBezTo>
                  <a:cubicBezTo>
                    <a:pt x="508708" y="273819"/>
                    <a:pt x="495790" y="285730"/>
                    <a:pt x="480885" y="285730"/>
                  </a:cubicBezTo>
                  <a:lnTo>
                    <a:pt x="332825" y="285730"/>
                  </a:lnTo>
                  <a:cubicBezTo>
                    <a:pt x="317920" y="285730"/>
                    <a:pt x="305002" y="273819"/>
                    <a:pt x="305002" y="257937"/>
                  </a:cubicBezTo>
                  <a:cubicBezTo>
                    <a:pt x="305002" y="243049"/>
                    <a:pt x="317920" y="230145"/>
                    <a:pt x="332825" y="230145"/>
                  </a:cubicBezTo>
                  <a:close/>
                  <a:moveTo>
                    <a:pt x="24843" y="151784"/>
                  </a:moveTo>
                  <a:cubicBezTo>
                    <a:pt x="34780" y="151784"/>
                    <a:pt x="183839" y="151784"/>
                    <a:pt x="183839" y="151784"/>
                  </a:cubicBezTo>
                  <a:cubicBezTo>
                    <a:pt x="196757" y="151784"/>
                    <a:pt x="207688" y="163688"/>
                    <a:pt x="207688" y="176583"/>
                  </a:cubicBezTo>
                  <a:lnTo>
                    <a:pt x="207688" y="329348"/>
                  </a:lnTo>
                  <a:cubicBezTo>
                    <a:pt x="207688" y="342243"/>
                    <a:pt x="196757" y="354147"/>
                    <a:pt x="182845" y="354147"/>
                  </a:cubicBezTo>
                  <a:cubicBezTo>
                    <a:pt x="175889" y="354147"/>
                    <a:pt x="168933" y="350179"/>
                    <a:pt x="163964" y="344227"/>
                  </a:cubicBezTo>
                  <a:lnTo>
                    <a:pt x="155021" y="494016"/>
                  </a:lnTo>
                  <a:cubicBezTo>
                    <a:pt x="154027" y="506911"/>
                    <a:pt x="143096" y="516831"/>
                    <a:pt x="129184" y="516831"/>
                  </a:cubicBezTo>
                  <a:lnTo>
                    <a:pt x="78504" y="516831"/>
                  </a:lnTo>
                  <a:cubicBezTo>
                    <a:pt x="65586" y="516831"/>
                    <a:pt x="54655" y="506911"/>
                    <a:pt x="53661" y="494016"/>
                  </a:cubicBezTo>
                  <a:lnTo>
                    <a:pt x="43724" y="345219"/>
                  </a:lnTo>
                  <a:cubicBezTo>
                    <a:pt x="39749" y="350179"/>
                    <a:pt x="32793" y="354147"/>
                    <a:pt x="24843" y="354147"/>
                  </a:cubicBezTo>
                  <a:cubicBezTo>
                    <a:pt x="11925" y="354147"/>
                    <a:pt x="994" y="343235"/>
                    <a:pt x="994" y="329348"/>
                  </a:cubicBezTo>
                  <a:lnTo>
                    <a:pt x="0" y="176583"/>
                  </a:lnTo>
                  <a:cubicBezTo>
                    <a:pt x="0" y="162696"/>
                    <a:pt x="10931" y="151784"/>
                    <a:pt x="24843" y="151784"/>
                  </a:cubicBezTo>
                  <a:close/>
                  <a:moveTo>
                    <a:pt x="332825" y="137928"/>
                  </a:moveTo>
                  <a:lnTo>
                    <a:pt x="480885" y="137928"/>
                  </a:lnTo>
                  <a:cubicBezTo>
                    <a:pt x="495790" y="137928"/>
                    <a:pt x="508708" y="149839"/>
                    <a:pt x="508708" y="165721"/>
                  </a:cubicBezTo>
                  <a:cubicBezTo>
                    <a:pt x="508708" y="180609"/>
                    <a:pt x="495790" y="193513"/>
                    <a:pt x="480885" y="193513"/>
                  </a:cubicBezTo>
                  <a:lnTo>
                    <a:pt x="332825" y="193513"/>
                  </a:lnTo>
                  <a:cubicBezTo>
                    <a:pt x="317920" y="193513"/>
                    <a:pt x="305002" y="180609"/>
                    <a:pt x="305002" y="165721"/>
                  </a:cubicBezTo>
                  <a:cubicBezTo>
                    <a:pt x="305002" y="149839"/>
                    <a:pt x="317920" y="137928"/>
                    <a:pt x="332825" y="137928"/>
                  </a:cubicBezTo>
                  <a:close/>
                  <a:moveTo>
                    <a:pt x="347698" y="55512"/>
                  </a:moveTo>
                  <a:lnTo>
                    <a:pt x="347698" y="61464"/>
                  </a:lnTo>
                  <a:cubicBezTo>
                    <a:pt x="347698" y="96181"/>
                    <a:pt x="318892" y="124947"/>
                    <a:pt x="283131" y="124947"/>
                  </a:cubicBezTo>
                  <a:lnTo>
                    <a:pt x="276178" y="124947"/>
                  </a:lnTo>
                  <a:lnTo>
                    <a:pt x="276178" y="456251"/>
                  </a:lnTo>
                  <a:cubicBezTo>
                    <a:pt x="276178" y="460218"/>
                    <a:pt x="279158" y="463194"/>
                    <a:pt x="283131" y="463194"/>
                  </a:cubicBezTo>
                  <a:lnTo>
                    <a:pt x="536433" y="463194"/>
                  </a:lnTo>
                  <a:cubicBezTo>
                    <a:pt x="540407" y="463194"/>
                    <a:pt x="543387" y="460218"/>
                    <a:pt x="543387" y="456251"/>
                  </a:cubicBezTo>
                  <a:lnTo>
                    <a:pt x="542394" y="62455"/>
                  </a:lnTo>
                  <a:cubicBezTo>
                    <a:pt x="542394" y="58488"/>
                    <a:pt x="540407" y="55512"/>
                    <a:pt x="536433" y="55512"/>
                  </a:cubicBezTo>
                  <a:close/>
                  <a:moveTo>
                    <a:pt x="337765" y="956"/>
                  </a:moveTo>
                  <a:lnTo>
                    <a:pt x="537427" y="956"/>
                  </a:lnTo>
                  <a:cubicBezTo>
                    <a:pt x="571200" y="956"/>
                    <a:pt x="599014" y="27738"/>
                    <a:pt x="599014" y="62455"/>
                  </a:cubicBezTo>
                  <a:lnTo>
                    <a:pt x="599014" y="456251"/>
                  </a:lnTo>
                  <a:cubicBezTo>
                    <a:pt x="599014" y="489976"/>
                    <a:pt x="571200" y="518742"/>
                    <a:pt x="537427" y="518742"/>
                  </a:cubicBezTo>
                  <a:lnTo>
                    <a:pt x="283131" y="518742"/>
                  </a:lnTo>
                  <a:cubicBezTo>
                    <a:pt x="249358" y="518742"/>
                    <a:pt x="221544" y="489976"/>
                    <a:pt x="221544" y="456251"/>
                  </a:cubicBezTo>
                  <a:lnTo>
                    <a:pt x="221544" y="117011"/>
                  </a:lnTo>
                  <a:cubicBezTo>
                    <a:pt x="221544" y="103125"/>
                    <a:pt x="226511" y="89238"/>
                    <a:pt x="237437" y="79318"/>
                  </a:cubicBezTo>
                  <a:cubicBezTo>
                    <a:pt x="257304" y="58488"/>
                    <a:pt x="278164" y="38649"/>
                    <a:pt x="298031" y="17819"/>
                  </a:cubicBezTo>
                  <a:cubicBezTo>
                    <a:pt x="298031" y="17819"/>
                    <a:pt x="299025" y="16827"/>
                    <a:pt x="301011" y="15835"/>
                  </a:cubicBezTo>
                  <a:cubicBezTo>
                    <a:pt x="310945" y="5916"/>
                    <a:pt x="323858" y="956"/>
                    <a:pt x="337765" y="956"/>
                  </a:cubicBezTo>
                  <a:close/>
                  <a:moveTo>
                    <a:pt x="104322" y="0"/>
                  </a:moveTo>
                  <a:cubicBezTo>
                    <a:pt x="141618" y="0"/>
                    <a:pt x="171853" y="30413"/>
                    <a:pt x="171853" y="67929"/>
                  </a:cubicBezTo>
                  <a:cubicBezTo>
                    <a:pt x="171853" y="105445"/>
                    <a:pt x="141618" y="135858"/>
                    <a:pt x="104322" y="135858"/>
                  </a:cubicBezTo>
                  <a:cubicBezTo>
                    <a:pt x="67026" y="135858"/>
                    <a:pt x="36791" y="105445"/>
                    <a:pt x="36791" y="67929"/>
                  </a:cubicBezTo>
                  <a:cubicBezTo>
                    <a:pt x="36791" y="30413"/>
                    <a:pt x="67026" y="0"/>
                    <a:pt x="104322" y="0"/>
                  </a:cubicBezTo>
                  <a:close/>
                </a:path>
              </a:pathLst>
            </a:custGeom>
            <a:solidFill>
              <a:schemeClr val="bg1"/>
            </a:solidFill>
            <a:ln>
              <a:noFill/>
            </a:ln>
          </p:spPr>
          <p:txBody>
            <a:bodyPr wrap="square" lIns="91440" tIns="45720" rIns="91440" bIns="45720">
              <a:normAutofit fontScale="775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sp>
        <p:nvSpPr>
          <p:cNvPr id="14" name="标题 1"/>
          <p:cNvSpPr>
            <a:spLocks noGrp="1"/>
          </p:cNvSpPr>
          <p:nvPr>
            <p:ph type="title"/>
          </p:nvPr>
        </p:nvSpPr>
        <p:spPr>
          <a:xfrm>
            <a:off x="669925" y="0"/>
            <a:ext cx="10850563" cy="1028700"/>
          </a:xfrm>
        </p:spPr>
        <p:txBody>
          <a:bodyPr/>
          <a:lstStyle/>
          <a:p>
            <a:r>
              <a:rPr lang="fr-FR" altLang="zh-CN" dirty="0" smtClean="0">
                <a:solidFill>
                  <a:srgbClr val="FF0000"/>
                </a:solidFill>
              </a:rPr>
              <a:t/>
            </a:r>
            <a:br>
              <a:rPr lang="fr-FR" altLang="zh-CN" dirty="0" smtClean="0">
                <a:solidFill>
                  <a:srgbClr val="FF0000"/>
                </a:solidFill>
              </a:rPr>
            </a:br>
            <a:r>
              <a:rPr lang="fr-FR" altLang="zh-CN" dirty="0" smtClean="0">
                <a:solidFill>
                  <a:srgbClr val="FF0000"/>
                </a:solidFill>
              </a:rPr>
              <a:t>Lois </a:t>
            </a:r>
            <a:r>
              <a:rPr lang="fr-FR" altLang="zh-CN" dirty="0">
                <a:solidFill>
                  <a:srgbClr val="FF0000"/>
                </a:solidFill>
              </a:rPr>
              <a:t>et </a:t>
            </a:r>
            <a:r>
              <a:rPr lang="fr-FR" altLang="zh-CN" dirty="0" smtClean="0">
                <a:solidFill>
                  <a:srgbClr val="FF0000"/>
                </a:solidFill>
              </a:rPr>
              <a:t>règlements</a:t>
            </a:r>
            <a:endParaRPr lang="zh-CN" altLang="en-US" dirty="0">
              <a:solidFill>
                <a:srgbClr val="FF0000"/>
              </a:solidFill>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fr-FR" altLang="zh-CN" dirty="0" smtClean="0"/>
              <a:t>Processus </a:t>
            </a:r>
            <a:r>
              <a:rPr lang="fr-FR" altLang="zh-CN" dirty="0"/>
              <a:t>principal</a:t>
            </a:r>
            <a:endParaRPr lang="zh-CN" altLang="en-US" dirty="0"/>
          </a:p>
        </p:txBody>
      </p:sp>
      <p:sp>
        <p:nvSpPr>
          <p:cNvPr id="3" name="灯片编号占位符 2"/>
          <p:cNvSpPr>
            <a:spLocks noGrp="1"/>
          </p:cNvSpPr>
          <p:nvPr>
            <p:ph type="sldNum" sz="quarter" idx="12"/>
          </p:nvPr>
        </p:nvSpPr>
        <p:spPr/>
        <p:txBody>
          <a:bodyPr/>
          <a:lstStyle/>
          <a:p>
            <a:fld id="{5DD3DB80-B894-403A-B48E-6FDC1A72010E}" type="slidenum">
              <a:rPr lang="zh-CN" altLang="en-US" smtClean="0"/>
              <a:t>6</a:t>
            </a:fld>
            <a:endParaRPr lang="zh-CN" altLang="en-US"/>
          </a:p>
        </p:txBody>
      </p:sp>
      <p:grpSp>
        <p:nvGrpSpPr>
          <p:cNvPr id="4" name="#332176"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2"/>
            </p:custDataLst>
          </p:nvPr>
        </p:nvGrpSpPr>
        <p:grpSpPr>
          <a:xfrm>
            <a:off x="1118106" y="1543753"/>
            <a:ext cx="9954197" cy="4149816"/>
            <a:chOff x="1121448" y="2229553"/>
            <a:chExt cx="9954197" cy="4149816"/>
          </a:xfrm>
        </p:grpSpPr>
        <p:cxnSp>
          <p:nvCxnSpPr>
            <p:cNvPr id="5" name="直接连接符 4"/>
            <p:cNvCxnSpPr/>
            <p:nvPr/>
          </p:nvCxnSpPr>
          <p:spPr>
            <a:xfrm flipH="1">
              <a:off x="2336800" y="3036570"/>
              <a:ext cx="843915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 name="ï$1íďè"/>
            <p:cNvSpPr/>
            <p:nvPr/>
          </p:nvSpPr>
          <p:spPr>
            <a:xfrm>
              <a:off x="3965578" y="2229553"/>
              <a:ext cx="1614714" cy="1614714"/>
            </a:xfrm>
            <a:prstGeom prst="plaqu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ïś1íḑè"/>
            <p:cNvSpPr/>
            <p:nvPr/>
          </p:nvSpPr>
          <p:spPr>
            <a:xfrm>
              <a:off x="1287899" y="2229553"/>
              <a:ext cx="1614714" cy="1614714"/>
            </a:xfrm>
            <a:prstGeom prst="plaqu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iŝḷíḓe"/>
            <p:cNvSpPr/>
            <p:nvPr/>
          </p:nvSpPr>
          <p:spPr>
            <a:xfrm>
              <a:off x="9308799" y="2229553"/>
              <a:ext cx="1614714" cy="1614714"/>
            </a:xfrm>
            <a:prstGeom prst="plaqu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íṩḻîḋê"/>
            <p:cNvSpPr/>
            <p:nvPr/>
          </p:nvSpPr>
          <p:spPr>
            <a:xfrm>
              <a:off x="6643256" y="2229553"/>
              <a:ext cx="1614714" cy="1614714"/>
            </a:xfrm>
            <a:prstGeom prst="plaqu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íṡḷiďè"/>
            <p:cNvSpPr/>
            <p:nvPr/>
          </p:nvSpPr>
          <p:spPr>
            <a:xfrm>
              <a:off x="4099835" y="2363810"/>
              <a:ext cx="1346200" cy="1346200"/>
            </a:xfrm>
            <a:prstGeom prst="plaqu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ï$1iḋe"/>
            <p:cNvSpPr/>
            <p:nvPr/>
          </p:nvSpPr>
          <p:spPr>
            <a:xfrm>
              <a:off x="4531635" y="2795882"/>
              <a:ext cx="482600" cy="482056"/>
            </a:xfrm>
            <a:custGeom>
              <a:avLst/>
              <a:gdLst>
                <a:gd name="T0" fmla="*/ 213 w 427"/>
                <a:gd name="T1" fmla="*/ 0 h 427"/>
                <a:gd name="T2" fmla="*/ 0 w 427"/>
                <a:gd name="T3" fmla="*/ 213 h 427"/>
                <a:gd name="T4" fmla="*/ 213 w 427"/>
                <a:gd name="T5" fmla="*/ 427 h 427"/>
                <a:gd name="T6" fmla="*/ 427 w 427"/>
                <a:gd name="T7" fmla="*/ 213 h 427"/>
                <a:gd name="T8" fmla="*/ 213 w 427"/>
                <a:gd name="T9" fmla="*/ 0 h 427"/>
                <a:gd name="T10" fmla="*/ 180 w 427"/>
                <a:gd name="T11" fmla="*/ 312 h 427"/>
                <a:gd name="T12" fmla="*/ 82 w 427"/>
                <a:gd name="T13" fmla="*/ 214 h 427"/>
                <a:gd name="T14" fmla="*/ 120 w 427"/>
                <a:gd name="T15" fmla="*/ 176 h 427"/>
                <a:gd name="T16" fmla="*/ 180 w 427"/>
                <a:gd name="T17" fmla="*/ 236 h 427"/>
                <a:gd name="T18" fmla="*/ 308 w 427"/>
                <a:gd name="T19" fmla="*/ 108 h 427"/>
                <a:gd name="T20" fmla="*/ 346 w 427"/>
                <a:gd name="T21" fmla="*/ 146 h 427"/>
                <a:gd name="T22" fmla="*/ 180 w 427"/>
                <a:gd name="T23" fmla="*/ 312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7" h="427">
                  <a:moveTo>
                    <a:pt x="213" y="0"/>
                  </a:moveTo>
                  <a:cubicBezTo>
                    <a:pt x="96" y="0"/>
                    <a:pt x="0" y="96"/>
                    <a:pt x="0" y="213"/>
                  </a:cubicBezTo>
                  <a:cubicBezTo>
                    <a:pt x="0" y="331"/>
                    <a:pt x="96" y="427"/>
                    <a:pt x="213" y="427"/>
                  </a:cubicBezTo>
                  <a:cubicBezTo>
                    <a:pt x="331" y="427"/>
                    <a:pt x="427" y="331"/>
                    <a:pt x="427" y="213"/>
                  </a:cubicBezTo>
                  <a:cubicBezTo>
                    <a:pt x="427" y="96"/>
                    <a:pt x="331" y="0"/>
                    <a:pt x="213" y="0"/>
                  </a:cubicBezTo>
                  <a:close/>
                  <a:moveTo>
                    <a:pt x="180" y="312"/>
                  </a:moveTo>
                  <a:lnTo>
                    <a:pt x="82" y="214"/>
                  </a:lnTo>
                  <a:lnTo>
                    <a:pt x="120" y="176"/>
                  </a:lnTo>
                  <a:lnTo>
                    <a:pt x="180" y="236"/>
                  </a:lnTo>
                  <a:lnTo>
                    <a:pt x="308" y="108"/>
                  </a:lnTo>
                  <a:lnTo>
                    <a:pt x="346" y="146"/>
                  </a:lnTo>
                  <a:lnTo>
                    <a:pt x="180" y="31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grpSp>
          <p:nvGrpSpPr>
            <p:cNvPr id="12" name="íśļíḑê"/>
            <p:cNvGrpSpPr/>
            <p:nvPr/>
          </p:nvGrpSpPr>
          <p:grpSpPr>
            <a:xfrm>
              <a:off x="3804323" y="4095750"/>
              <a:ext cx="1905548" cy="2283618"/>
              <a:chOff x="4020369" y="4867054"/>
              <a:chExt cx="1905548" cy="2283618"/>
            </a:xfrm>
          </p:grpSpPr>
          <p:sp>
            <p:nvSpPr>
              <p:cNvPr id="28" name="íSlíḍê"/>
              <p:cNvSpPr txBox="1"/>
              <p:nvPr/>
            </p:nvSpPr>
            <p:spPr bwMode="auto">
              <a:xfrm>
                <a:off x="4020369" y="4867054"/>
                <a:ext cx="1905548"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spcBef>
                    <a:spcPct val="0"/>
                  </a:spcBef>
                </a:pPr>
                <a:r>
                  <a:rPr lang="fr-FR" altLang="zh-CN" b="1" dirty="0"/>
                  <a:t>Demander une </a:t>
                </a:r>
                <a:r>
                  <a:rPr lang="fr-FR" altLang="zh-CN" b="1" dirty="0" smtClean="0"/>
                  <a:t>évaluation</a:t>
                </a:r>
                <a:endParaRPr lang="fr-FR" altLang="zh-CN" b="1" dirty="0" smtClean="0"/>
              </a:p>
            </p:txBody>
          </p:sp>
          <p:sp>
            <p:nvSpPr>
              <p:cNvPr id="29" name="íSļîḑe"/>
              <p:cNvSpPr/>
              <p:nvPr/>
            </p:nvSpPr>
            <p:spPr bwMode="auto">
              <a:xfrm>
                <a:off x="4020369" y="5308860"/>
                <a:ext cx="1905548" cy="1841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fontScale="92500" lnSpcReduction="10000"/>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lnSpc>
                    <a:spcPct val="150000"/>
                  </a:lnSpc>
                </a:pPr>
                <a:r>
                  <a:rPr lang="fr-FR" altLang="zh-CN" sz="1400" dirty="0" smtClean="0"/>
                  <a:t>Les </a:t>
                </a:r>
                <a:r>
                  <a:rPr lang="fr-FR" altLang="zh-CN" sz="1400" dirty="0"/>
                  <a:t>institutions médicales demandent aux agences d'évaluation tierces concernées une évaluation technique</a:t>
                </a:r>
                <a:endParaRPr lang="zh-CN" altLang="en-US" sz="1400" dirty="0"/>
              </a:p>
            </p:txBody>
          </p:sp>
        </p:grpSp>
        <p:sp>
          <p:nvSpPr>
            <p:cNvPr id="13" name="işļîdê"/>
            <p:cNvSpPr/>
            <p:nvPr/>
          </p:nvSpPr>
          <p:spPr>
            <a:xfrm>
              <a:off x="1422156" y="2363810"/>
              <a:ext cx="1346200" cy="1346200"/>
            </a:xfrm>
            <a:prstGeom prst="plaqu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ïsḻiďé"/>
            <p:cNvSpPr/>
            <p:nvPr/>
          </p:nvSpPr>
          <p:spPr>
            <a:xfrm>
              <a:off x="9443056" y="2363810"/>
              <a:ext cx="1346200" cy="1346200"/>
            </a:xfrm>
            <a:prstGeom prst="plaqu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îšlîḍè"/>
            <p:cNvSpPr/>
            <p:nvPr/>
          </p:nvSpPr>
          <p:spPr>
            <a:xfrm>
              <a:off x="1853956" y="2795882"/>
              <a:ext cx="482600" cy="482056"/>
            </a:xfrm>
            <a:custGeom>
              <a:avLst/>
              <a:gdLst>
                <a:gd name="T0" fmla="*/ 213 w 427"/>
                <a:gd name="T1" fmla="*/ 0 h 427"/>
                <a:gd name="T2" fmla="*/ 0 w 427"/>
                <a:gd name="T3" fmla="*/ 213 h 427"/>
                <a:gd name="T4" fmla="*/ 213 w 427"/>
                <a:gd name="T5" fmla="*/ 427 h 427"/>
                <a:gd name="T6" fmla="*/ 427 w 427"/>
                <a:gd name="T7" fmla="*/ 213 h 427"/>
                <a:gd name="T8" fmla="*/ 213 w 427"/>
                <a:gd name="T9" fmla="*/ 0 h 427"/>
                <a:gd name="T10" fmla="*/ 180 w 427"/>
                <a:gd name="T11" fmla="*/ 312 h 427"/>
                <a:gd name="T12" fmla="*/ 82 w 427"/>
                <a:gd name="T13" fmla="*/ 214 h 427"/>
                <a:gd name="T14" fmla="*/ 120 w 427"/>
                <a:gd name="T15" fmla="*/ 176 h 427"/>
                <a:gd name="T16" fmla="*/ 180 w 427"/>
                <a:gd name="T17" fmla="*/ 236 h 427"/>
                <a:gd name="T18" fmla="*/ 308 w 427"/>
                <a:gd name="T19" fmla="*/ 108 h 427"/>
                <a:gd name="T20" fmla="*/ 346 w 427"/>
                <a:gd name="T21" fmla="*/ 146 h 427"/>
                <a:gd name="T22" fmla="*/ 180 w 427"/>
                <a:gd name="T23" fmla="*/ 312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7" h="427">
                  <a:moveTo>
                    <a:pt x="213" y="0"/>
                  </a:moveTo>
                  <a:cubicBezTo>
                    <a:pt x="96" y="0"/>
                    <a:pt x="0" y="96"/>
                    <a:pt x="0" y="213"/>
                  </a:cubicBezTo>
                  <a:cubicBezTo>
                    <a:pt x="0" y="331"/>
                    <a:pt x="96" y="427"/>
                    <a:pt x="213" y="427"/>
                  </a:cubicBezTo>
                  <a:cubicBezTo>
                    <a:pt x="331" y="427"/>
                    <a:pt x="427" y="331"/>
                    <a:pt x="427" y="213"/>
                  </a:cubicBezTo>
                  <a:cubicBezTo>
                    <a:pt x="427" y="96"/>
                    <a:pt x="331" y="0"/>
                    <a:pt x="213" y="0"/>
                  </a:cubicBezTo>
                  <a:close/>
                  <a:moveTo>
                    <a:pt x="180" y="312"/>
                  </a:moveTo>
                  <a:lnTo>
                    <a:pt x="82" y="214"/>
                  </a:lnTo>
                  <a:lnTo>
                    <a:pt x="120" y="176"/>
                  </a:lnTo>
                  <a:lnTo>
                    <a:pt x="180" y="236"/>
                  </a:lnTo>
                  <a:lnTo>
                    <a:pt x="308" y="108"/>
                  </a:lnTo>
                  <a:lnTo>
                    <a:pt x="346" y="146"/>
                  </a:lnTo>
                  <a:lnTo>
                    <a:pt x="180" y="31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sp>
          <p:nvSpPr>
            <p:cNvPr id="16" name="íšļîdé"/>
            <p:cNvSpPr/>
            <p:nvPr/>
          </p:nvSpPr>
          <p:spPr>
            <a:xfrm>
              <a:off x="9874856" y="2795882"/>
              <a:ext cx="482600" cy="482056"/>
            </a:xfrm>
            <a:custGeom>
              <a:avLst/>
              <a:gdLst>
                <a:gd name="T0" fmla="*/ 213 w 427"/>
                <a:gd name="T1" fmla="*/ 0 h 427"/>
                <a:gd name="T2" fmla="*/ 0 w 427"/>
                <a:gd name="T3" fmla="*/ 213 h 427"/>
                <a:gd name="T4" fmla="*/ 213 w 427"/>
                <a:gd name="T5" fmla="*/ 427 h 427"/>
                <a:gd name="T6" fmla="*/ 427 w 427"/>
                <a:gd name="T7" fmla="*/ 213 h 427"/>
                <a:gd name="T8" fmla="*/ 213 w 427"/>
                <a:gd name="T9" fmla="*/ 0 h 427"/>
                <a:gd name="T10" fmla="*/ 180 w 427"/>
                <a:gd name="T11" fmla="*/ 312 h 427"/>
                <a:gd name="T12" fmla="*/ 82 w 427"/>
                <a:gd name="T13" fmla="*/ 214 h 427"/>
                <a:gd name="T14" fmla="*/ 120 w 427"/>
                <a:gd name="T15" fmla="*/ 176 h 427"/>
                <a:gd name="T16" fmla="*/ 180 w 427"/>
                <a:gd name="T17" fmla="*/ 236 h 427"/>
                <a:gd name="T18" fmla="*/ 308 w 427"/>
                <a:gd name="T19" fmla="*/ 108 h 427"/>
                <a:gd name="T20" fmla="*/ 346 w 427"/>
                <a:gd name="T21" fmla="*/ 146 h 427"/>
                <a:gd name="T22" fmla="*/ 180 w 427"/>
                <a:gd name="T23" fmla="*/ 312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7" h="427">
                  <a:moveTo>
                    <a:pt x="213" y="0"/>
                  </a:moveTo>
                  <a:cubicBezTo>
                    <a:pt x="96" y="0"/>
                    <a:pt x="0" y="96"/>
                    <a:pt x="0" y="213"/>
                  </a:cubicBezTo>
                  <a:cubicBezTo>
                    <a:pt x="0" y="331"/>
                    <a:pt x="96" y="427"/>
                    <a:pt x="213" y="427"/>
                  </a:cubicBezTo>
                  <a:cubicBezTo>
                    <a:pt x="331" y="427"/>
                    <a:pt x="427" y="331"/>
                    <a:pt x="427" y="213"/>
                  </a:cubicBezTo>
                  <a:cubicBezTo>
                    <a:pt x="427" y="96"/>
                    <a:pt x="331" y="0"/>
                    <a:pt x="213" y="0"/>
                  </a:cubicBezTo>
                  <a:close/>
                  <a:moveTo>
                    <a:pt x="180" y="312"/>
                  </a:moveTo>
                  <a:lnTo>
                    <a:pt x="82" y="214"/>
                  </a:lnTo>
                  <a:lnTo>
                    <a:pt x="120" y="176"/>
                  </a:lnTo>
                  <a:lnTo>
                    <a:pt x="180" y="236"/>
                  </a:lnTo>
                  <a:lnTo>
                    <a:pt x="308" y="108"/>
                  </a:lnTo>
                  <a:lnTo>
                    <a:pt x="346" y="146"/>
                  </a:lnTo>
                  <a:lnTo>
                    <a:pt x="180" y="31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grpSp>
          <p:nvGrpSpPr>
            <p:cNvPr id="17" name="îS1íḓê"/>
            <p:cNvGrpSpPr/>
            <p:nvPr/>
          </p:nvGrpSpPr>
          <p:grpSpPr>
            <a:xfrm>
              <a:off x="9170097" y="4095750"/>
              <a:ext cx="1905548" cy="2283618"/>
              <a:chOff x="8766900" y="4493339"/>
              <a:chExt cx="1905548" cy="2283618"/>
            </a:xfrm>
          </p:grpSpPr>
          <p:sp>
            <p:nvSpPr>
              <p:cNvPr id="26" name="ïšḻiḍe"/>
              <p:cNvSpPr txBox="1"/>
              <p:nvPr/>
            </p:nvSpPr>
            <p:spPr bwMode="auto">
              <a:xfrm>
                <a:off x="8766900" y="4493339"/>
                <a:ext cx="1905548"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spcBef>
                    <a:spcPct val="0"/>
                  </a:spcBef>
                </a:pPr>
                <a:r>
                  <a:rPr lang="fr-FR" altLang="zh-CN" b="1" dirty="0"/>
                  <a:t>La gestion par </a:t>
                </a:r>
                <a:r>
                  <a:rPr lang="fr-FR" altLang="zh-CN" b="1" dirty="0" smtClean="0"/>
                  <a:t>catégorie</a:t>
                </a:r>
                <a:endParaRPr lang="fr-FR" altLang="zh-CN" b="1" dirty="0" smtClean="0"/>
              </a:p>
            </p:txBody>
          </p:sp>
          <p:sp>
            <p:nvSpPr>
              <p:cNvPr id="27" name="íšḷîďe"/>
              <p:cNvSpPr/>
              <p:nvPr/>
            </p:nvSpPr>
            <p:spPr bwMode="auto">
              <a:xfrm>
                <a:off x="8766900" y="4935145"/>
                <a:ext cx="1905548" cy="1841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fontScale="85000" lnSpcReduction="10000"/>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lnSpc>
                    <a:spcPct val="150000"/>
                  </a:lnSpc>
                </a:pPr>
                <a:r>
                  <a:rPr lang="zh-CN" altLang="en-US" sz="1400" dirty="0"/>
                  <a:t>评</a:t>
                </a:r>
                <a:r>
                  <a:rPr lang="zh-CN" altLang="en-US" sz="1400" dirty="0" smtClean="0"/>
                  <a:t>估</a:t>
                </a:r>
                <a:r>
                  <a:rPr lang="fr-FR" altLang="zh-CN" sz="1400" dirty="0" smtClean="0"/>
                  <a:t>Après </a:t>
                </a:r>
                <a:r>
                  <a:rPr lang="fr-FR" altLang="zh-CN" sz="1400" dirty="0"/>
                  <a:t>évaluation et examen, la technologie est une technologie interdite, un catalogue de technologies restreint ou auto-développé</a:t>
                </a:r>
                <a:endParaRPr lang="en-US" altLang="zh-CN" sz="1400" dirty="0"/>
              </a:p>
            </p:txBody>
          </p:sp>
        </p:grpSp>
        <p:sp>
          <p:nvSpPr>
            <p:cNvPr id="18" name="ï$1iḋe"/>
            <p:cNvSpPr/>
            <p:nvPr/>
          </p:nvSpPr>
          <p:spPr>
            <a:xfrm>
              <a:off x="6777513" y="2363810"/>
              <a:ext cx="1346200" cy="1346200"/>
            </a:xfrm>
            <a:prstGeom prst="plaqu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9" name="î$ḷïďé"/>
            <p:cNvGrpSpPr/>
            <p:nvPr/>
          </p:nvGrpSpPr>
          <p:grpSpPr>
            <a:xfrm>
              <a:off x="6487210" y="4095750"/>
              <a:ext cx="1905548" cy="2283618"/>
              <a:chOff x="6307642" y="4619928"/>
              <a:chExt cx="1905548" cy="2283618"/>
            </a:xfrm>
          </p:grpSpPr>
          <p:sp>
            <p:nvSpPr>
              <p:cNvPr id="24" name="islîḓé"/>
              <p:cNvSpPr txBox="1"/>
              <p:nvPr/>
            </p:nvSpPr>
            <p:spPr bwMode="auto">
              <a:xfrm>
                <a:off x="6307642" y="4619928"/>
                <a:ext cx="1905548"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ormAutofit fontScale="77500" lnSpcReduction="20000"/>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spcBef>
                    <a:spcPct val="0"/>
                  </a:spcBef>
                </a:pPr>
                <a:r>
                  <a:rPr lang="fr-FR" altLang="zh-CN" b="1" dirty="0"/>
                  <a:t>Évaluation des </a:t>
                </a:r>
                <a:endParaRPr lang="fr-FR" altLang="zh-CN" b="1" dirty="0" smtClean="0"/>
              </a:p>
              <a:p>
                <a:pPr algn="ctr">
                  <a:spcBef>
                    <a:spcPct val="0"/>
                  </a:spcBef>
                </a:pPr>
                <a:r>
                  <a:rPr lang="fr-FR" altLang="zh-CN" b="1" dirty="0" smtClean="0"/>
                  <a:t>nouvelles technologies</a:t>
                </a:r>
              </a:p>
            </p:txBody>
          </p:sp>
          <p:sp>
            <p:nvSpPr>
              <p:cNvPr id="25" name="íṣļidê"/>
              <p:cNvSpPr/>
              <p:nvPr/>
            </p:nvSpPr>
            <p:spPr bwMode="auto">
              <a:xfrm>
                <a:off x="6307642" y="5061734"/>
                <a:ext cx="1905548" cy="1841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fontScale="92500" lnSpcReduction="10000"/>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lnSpc>
                    <a:spcPct val="150000"/>
                  </a:lnSpc>
                </a:pPr>
                <a:r>
                  <a:rPr lang="fr-FR" altLang="zh-CN" sz="1400" dirty="0" smtClean="0"/>
                  <a:t>Des </a:t>
                </a:r>
                <a:r>
                  <a:rPr lang="fr-FR" altLang="zh-CN" sz="1400" dirty="0"/>
                  <a:t>agences d'évaluation tierces évaluent la sécurité, l'efficacité et l'éthique des nouvelles technologies</a:t>
                </a:r>
                <a:endParaRPr lang="en-US" altLang="zh-CN" sz="1400" dirty="0"/>
              </a:p>
            </p:txBody>
          </p:sp>
        </p:grpSp>
        <p:sp>
          <p:nvSpPr>
            <p:cNvPr id="20" name="îśḻïďe"/>
            <p:cNvSpPr/>
            <p:nvPr/>
          </p:nvSpPr>
          <p:spPr>
            <a:xfrm>
              <a:off x="7209313" y="2795882"/>
              <a:ext cx="482600" cy="482056"/>
            </a:xfrm>
            <a:custGeom>
              <a:avLst/>
              <a:gdLst>
                <a:gd name="T0" fmla="*/ 213 w 427"/>
                <a:gd name="T1" fmla="*/ 0 h 427"/>
                <a:gd name="T2" fmla="*/ 0 w 427"/>
                <a:gd name="T3" fmla="*/ 213 h 427"/>
                <a:gd name="T4" fmla="*/ 213 w 427"/>
                <a:gd name="T5" fmla="*/ 427 h 427"/>
                <a:gd name="T6" fmla="*/ 427 w 427"/>
                <a:gd name="T7" fmla="*/ 213 h 427"/>
                <a:gd name="T8" fmla="*/ 213 w 427"/>
                <a:gd name="T9" fmla="*/ 0 h 427"/>
                <a:gd name="T10" fmla="*/ 180 w 427"/>
                <a:gd name="T11" fmla="*/ 312 h 427"/>
                <a:gd name="T12" fmla="*/ 82 w 427"/>
                <a:gd name="T13" fmla="*/ 214 h 427"/>
                <a:gd name="T14" fmla="*/ 120 w 427"/>
                <a:gd name="T15" fmla="*/ 176 h 427"/>
                <a:gd name="T16" fmla="*/ 180 w 427"/>
                <a:gd name="T17" fmla="*/ 236 h 427"/>
                <a:gd name="T18" fmla="*/ 308 w 427"/>
                <a:gd name="T19" fmla="*/ 108 h 427"/>
                <a:gd name="T20" fmla="*/ 346 w 427"/>
                <a:gd name="T21" fmla="*/ 146 h 427"/>
                <a:gd name="T22" fmla="*/ 180 w 427"/>
                <a:gd name="T23" fmla="*/ 312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7" h="427">
                  <a:moveTo>
                    <a:pt x="213" y="0"/>
                  </a:moveTo>
                  <a:cubicBezTo>
                    <a:pt x="96" y="0"/>
                    <a:pt x="0" y="96"/>
                    <a:pt x="0" y="213"/>
                  </a:cubicBezTo>
                  <a:cubicBezTo>
                    <a:pt x="0" y="331"/>
                    <a:pt x="96" y="427"/>
                    <a:pt x="213" y="427"/>
                  </a:cubicBezTo>
                  <a:cubicBezTo>
                    <a:pt x="331" y="427"/>
                    <a:pt x="427" y="331"/>
                    <a:pt x="427" y="213"/>
                  </a:cubicBezTo>
                  <a:cubicBezTo>
                    <a:pt x="427" y="96"/>
                    <a:pt x="331" y="0"/>
                    <a:pt x="213" y="0"/>
                  </a:cubicBezTo>
                  <a:close/>
                  <a:moveTo>
                    <a:pt x="180" y="312"/>
                  </a:moveTo>
                  <a:lnTo>
                    <a:pt x="82" y="214"/>
                  </a:lnTo>
                  <a:lnTo>
                    <a:pt x="120" y="176"/>
                  </a:lnTo>
                  <a:lnTo>
                    <a:pt x="180" y="236"/>
                  </a:lnTo>
                  <a:lnTo>
                    <a:pt x="308" y="108"/>
                  </a:lnTo>
                  <a:lnTo>
                    <a:pt x="346" y="146"/>
                  </a:lnTo>
                  <a:lnTo>
                    <a:pt x="180" y="31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grpSp>
          <p:nvGrpSpPr>
            <p:cNvPr id="21" name="isľïdè"/>
            <p:cNvGrpSpPr/>
            <p:nvPr/>
          </p:nvGrpSpPr>
          <p:grpSpPr>
            <a:xfrm>
              <a:off x="1121448" y="4095750"/>
              <a:ext cx="1905548" cy="2283619"/>
              <a:chOff x="4020369" y="4867054"/>
              <a:chExt cx="1905548" cy="2283619"/>
            </a:xfrm>
          </p:grpSpPr>
          <p:sp>
            <p:nvSpPr>
              <p:cNvPr id="22" name="iṧḷîďê"/>
              <p:cNvSpPr txBox="1"/>
              <p:nvPr/>
            </p:nvSpPr>
            <p:spPr bwMode="auto">
              <a:xfrm>
                <a:off x="4020369" y="4867054"/>
                <a:ext cx="1905548"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nchor="b">
                <a:normAutofit/>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spcBef>
                    <a:spcPct val="0"/>
                  </a:spcBef>
                </a:pPr>
                <a:r>
                  <a:rPr lang="fr-FR" altLang="zh-CN" sz="1200" b="1" dirty="0" smtClean="0"/>
                  <a:t>Démonstration </a:t>
                </a:r>
                <a:r>
                  <a:rPr lang="fr-FR" altLang="zh-CN" sz="1200" b="1" dirty="0"/>
                  <a:t>de recherche clinique</a:t>
                </a:r>
                <a:endParaRPr lang="en-US" altLang="zh-CN" sz="1200" b="1" dirty="0"/>
              </a:p>
            </p:txBody>
          </p:sp>
          <p:sp>
            <p:nvSpPr>
              <p:cNvPr id="23" name="ïsḻíḓe"/>
              <p:cNvSpPr/>
              <p:nvPr/>
            </p:nvSpPr>
            <p:spPr bwMode="auto">
              <a:xfrm>
                <a:off x="4020369" y="5308860"/>
                <a:ext cx="1905548" cy="1841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fontScale="70000" lnSpcReduction="20000"/>
              </a:bodyPr>
              <a:lstStyle>
                <a:defPPr>
                  <a:defRPr lang="zh-CN"/>
                </a:defPPr>
                <a:lvl1pPr marL="0" algn="l" defTabSz="913765" rtl="0" eaLnBrk="1" latinLnBrk="0" hangingPunct="1">
                  <a:defRPr sz="1800" kern="1200">
                    <a:solidFill>
                      <a:schemeClr val="tx1"/>
                    </a:solidFill>
                  </a:defRPr>
                </a:lvl1pPr>
                <a:lvl2pPr marL="457200" algn="l" defTabSz="913765" rtl="0" eaLnBrk="1" latinLnBrk="0" hangingPunct="1">
                  <a:defRPr sz="1800" kern="1200">
                    <a:solidFill>
                      <a:schemeClr val="tx1"/>
                    </a:solidFill>
                  </a:defRPr>
                </a:lvl2pPr>
                <a:lvl3pPr marL="914400" algn="l" defTabSz="913765" rtl="0" eaLnBrk="1" latinLnBrk="0" hangingPunct="1">
                  <a:defRPr sz="1800" kern="1200">
                    <a:solidFill>
                      <a:schemeClr val="tx1"/>
                    </a:solidFill>
                  </a:defRPr>
                </a:lvl3pPr>
                <a:lvl4pPr marL="1371600" algn="l" defTabSz="913765" rtl="0" eaLnBrk="1" latinLnBrk="0" hangingPunct="1">
                  <a:defRPr sz="1800" kern="1200">
                    <a:solidFill>
                      <a:schemeClr val="tx1"/>
                    </a:solidFill>
                  </a:defRPr>
                </a:lvl4pPr>
                <a:lvl5pPr marL="1828800" algn="l" defTabSz="913765" rtl="0" eaLnBrk="1" latinLnBrk="0" hangingPunct="1">
                  <a:defRPr sz="1800" kern="1200">
                    <a:solidFill>
                      <a:schemeClr val="tx1"/>
                    </a:solidFill>
                  </a:defRPr>
                </a:lvl5pPr>
                <a:lvl6pPr marL="2286000" algn="l" defTabSz="913765" rtl="0" eaLnBrk="1" latinLnBrk="0" hangingPunct="1">
                  <a:defRPr sz="1800" kern="1200">
                    <a:solidFill>
                      <a:schemeClr val="tx1"/>
                    </a:solidFill>
                  </a:defRPr>
                </a:lvl6pPr>
                <a:lvl7pPr marL="2743200" algn="l" defTabSz="913765" rtl="0" eaLnBrk="1" latinLnBrk="0" hangingPunct="1">
                  <a:defRPr sz="1800" kern="1200">
                    <a:solidFill>
                      <a:schemeClr val="tx1"/>
                    </a:solidFill>
                  </a:defRPr>
                </a:lvl7pPr>
                <a:lvl8pPr marL="3200400" algn="l" defTabSz="913765" rtl="0" eaLnBrk="1" latinLnBrk="0" hangingPunct="1">
                  <a:defRPr sz="1800" kern="1200">
                    <a:solidFill>
                      <a:schemeClr val="tx1"/>
                    </a:solidFill>
                  </a:defRPr>
                </a:lvl8pPr>
                <a:lvl9pPr marL="3657600" algn="l" defTabSz="913765" rtl="0" eaLnBrk="1" latinLnBrk="0" hangingPunct="1">
                  <a:defRPr sz="1800" kern="1200">
                    <a:solidFill>
                      <a:schemeClr val="tx1"/>
                    </a:solidFill>
                  </a:defRPr>
                </a:lvl9pPr>
              </a:lstStyle>
              <a:p>
                <a:pPr algn="ctr">
                  <a:lnSpc>
                    <a:spcPct val="150000"/>
                  </a:lnSpc>
                </a:pPr>
                <a:r>
                  <a:rPr lang="fr-FR" altLang="zh-CN" sz="1400" dirty="0" smtClean="0"/>
                  <a:t>Les </a:t>
                </a:r>
                <a:r>
                  <a:rPr lang="fr-FR" altLang="zh-CN" sz="1400" dirty="0"/>
                  <a:t>institutions médicales prévoient de développer de nouvelles technologies pour la première fois dans cette ville et devraient achever la démonstration de recherche clinique avant de lancer la première application clinique</a:t>
                </a:r>
                <a:endParaRPr lang="en-US" altLang="zh-CN" sz="1400" dirty="0"/>
              </a:p>
            </p:txBody>
          </p:sp>
        </p:grpSp>
      </p:grpSp>
    </p:spTree>
    <p:custDataLst>
      <p:tags r:id="rId1"/>
    </p:custData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fld id="{5DD3DB80-B894-403A-B48E-6FDC1A72010E}" type="slidenum">
              <a:rPr lang="zh-CN" altLang="en-US" smtClean="0"/>
              <a:t>7</a:t>
            </a:fld>
            <a:endParaRPr lang="zh-CN" altLang="en-US"/>
          </a:p>
        </p:txBody>
      </p:sp>
      <p:sp>
        <p:nvSpPr>
          <p:cNvPr id="6" name="íṣlïḓe"/>
          <p:cNvSpPr/>
          <p:nvPr/>
        </p:nvSpPr>
        <p:spPr>
          <a:xfrm>
            <a:off x="0" y="1130300"/>
            <a:ext cx="4914900" cy="1809749"/>
          </a:xfrm>
          <a:prstGeom prst="rect">
            <a:avLst/>
          </a:prstGeom>
          <a:blipFill>
            <a:blip r:embed="rId3"/>
            <a:srcRect/>
            <a:stretch>
              <a:fillRect t="-40812" b="-40241"/>
            </a:stretch>
          </a:blipFill>
          <a:ln w="19050">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lang="zh-CN" altLang="en-US"/>
          </a:p>
        </p:txBody>
      </p:sp>
      <p:sp>
        <p:nvSpPr>
          <p:cNvPr id="8" name="isļîďé"/>
          <p:cNvSpPr txBox="1"/>
          <p:nvPr/>
        </p:nvSpPr>
        <p:spPr>
          <a:xfrm>
            <a:off x="220727" y="3035299"/>
            <a:ext cx="4540110" cy="1181101"/>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buSzPct val="25000"/>
            </a:pPr>
            <a:endParaRPr lang="en-US" altLang="zh-CN" sz="2400" b="1" dirty="0"/>
          </a:p>
        </p:txBody>
      </p:sp>
      <p:sp>
        <p:nvSpPr>
          <p:cNvPr id="9" name="îSļíḋé"/>
          <p:cNvSpPr txBox="1"/>
          <p:nvPr/>
        </p:nvSpPr>
        <p:spPr>
          <a:xfrm>
            <a:off x="5223035" y="1130300"/>
            <a:ext cx="6297452" cy="5316543"/>
          </a:xfrm>
          <a:prstGeom prst="rect">
            <a:avLst/>
          </a:prstGeom>
          <a:noFill/>
          <a:ln>
            <a:noFill/>
          </a:ln>
        </p:spPr>
        <p:txBody>
          <a:bodyPr wrap="square" lIns="91440" tIns="45720" rIns="91440" bIns="45720" anchor="t" anchorCtr="0">
            <a:normAutofit fontScale="77500" lnSpcReduction="20000"/>
          </a:bodyPr>
          <a:lstStyle>
            <a:defPPr>
              <a:defRPr lang="zh-CN"/>
            </a:defPPr>
            <a:lvl1pPr marL="171450" indent="-171450">
              <a:lnSpc>
                <a:spcPct val="160000"/>
              </a:lnSpc>
              <a:buFont typeface="Arial" charset="0"/>
              <a:buChar char="•"/>
              <a:defRPr sz="1100"/>
            </a:lvl1pPr>
          </a:lstStyle>
          <a:p>
            <a:pPr marL="0" lvl="0" indent="0">
              <a:lnSpc>
                <a:spcPct val="150000"/>
              </a:lnSpc>
              <a:buClr>
                <a:schemeClr val="tx1"/>
              </a:buClr>
              <a:buSzPct val="150000"/>
              <a:buNone/>
              <a:defRPr/>
            </a:pPr>
            <a:r>
              <a:rPr lang="fr-FR" altLang="zh-CN" sz="2400" b="1" dirty="0" smtClean="0">
                <a:latin typeface="+mn-ea"/>
              </a:rPr>
              <a:t>Agence </a:t>
            </a:r>
            <a:r>
              <a:rPr lang="fr-FR" altLang="zh-CN" sz="2400" b="1" dirty="0">
                <a:latin typeface="+mn-ea"/>
              </a:rPr>
              <a:t>d'évaluation tierce</a:t>
            </a:r>
            <a:endParaRPr lang="en-US" altLang="zh-CN" sz="2000" dirty="0">
              <a:latin typeface="+mn-ea"/>
            </a:endParaRPr>
          </a:p>
          <a:p>
            <a:pPr marL="0" lvl="0" indent="0">
              <a:lnSpc>
                <a:spcPct val="150000"/>
              </a:lnSpc>
              <a:buClr>
                <a:schemeClr val="tx1"/>
              </a:buClr>
              <a:buSzPct val="150000"/>
              <a:buNone/>
              <a:defRPr/>
            </a:pPr>
            <a:endParaRPr lang="en-US" altLang="zh-CN" sz="2000" dirty="0">
              <a:latin typeface="+mn-ea"/>
            </a:endParaRPr>
          </a:p>
          <a:p>
            <a:pPr>
              <a:lnSpc>
                <a:spcPct val="150000"/>
              </a:lnSpc>
              <a:buClr>
                <a:schemeClr val="tx1"/>
              </a:buClr>
              <a:buSzPct val="150000"/>
              <a:defRPr/>
            </a:pPr>
            <a:r>
              <a:rPr lang="fr-FR" altLang="zh-CN" sz="2000" dirty="0" smtClean="0">
                <a:latin typeface="+mn-ea"/>
              </a:rPr>
              <a:t>Afin </a:t>
            </a:r>
            <a:r>
              <a:rPr lang="fr-FR" altLang="zh-CN" sz="2000" dirty="0">
                <a:latin typeface="+mn-ea"/>
              </a:rPr>
              <a:t>d'assurer la qualité et la sécurité des traitements médicaux, après recherche et démonstration d'experts, il est déterminé que les unités suivantes sont qualifiées pour effectuer l'évaluation des capacités d'application clinique:</a:t>
            </a:r>
          </a:p>
          <a:p>
            <a:pPr>
              <a:lnSpc>
                <a:spcPct val="150000"/>
              </a:lnSpc>
              <a:buClr>
                <a:schemeClr val="tx1"/>
              </a:buClr>
              <a:buSzPct val="150000"/>
              <a:defRPr/>
            </a:pPr>
            <a:endParaRPr lang="fr-FR" altLang="zh-CN" sz="2000" dirty="0">
              <a:latin typeface="+mn-ea"/>
            </a:endParaRPr>
          </a:p>
          <a:p>
            <a:pPr>
              <a:lnSpc>
                <a:spcPct val="150000"/>
              </a:lnSpc>
              <a:buClr>
                <a:schemeClr val="tx1"/>
              </a:buClr>
              <a:buSzPct val="150000"/>
              <a:defRPr/>
            </a:pPr>
            <a:r>
              <a:rPr lang="fr-FR" altLang="zh-CN" sz="2000" dirty="0">
                <a:latin typeface="+mn-ea"/>
              </a:rPr>
              <a:t>Association médicale de Shanghai: évaluation de la grande majorité des nouvelles technologies</a:t>
            </a:r>
          </a:p>
          <a:p>
            <a:pPr>
              <a:lnSpc>
                <a:spcPct val="150000"/>
              </a:lnSpc>
              <a:buClr>
                <a:schemeClr val="tx1"/>
              </a:buClr>
              <a:buSzPct val="150000"/>
              <a:defRPr/>
            </a:pPr>
            <a:r>
              <a:rPr lang="fr-FR" altLang="zh-CN" sz="2000" dirty="0">
                <a:latin typeface="+mn-ea"/>
              </a:rPr>
              <a:t>Shanghai </a:t>
            </a:r>
            <a:r>
              <a:rPr lang="fr-FR" altLang="zh-CN" sz="2000" dirty="0" err="1">
                <a:latin typeface="+mn-ea"/>
              </a:rPr>
              <a:t>Stomatological</a:t>
            </a:r>
            <a:r>
              <a:rPr lang="fr-FR" altLang="zh-CN" sz="2000" dirty="0">
                <a:latin typeface="+mn-ea"/>
              </a:rPr>
              <a:t> Association: Evaluation des nouvelles technologies liées à la stomatologie</a:t>
            </a:r>
          </a:p>
          <a:p>
            <a:pPr>
              <a:lnSpc>
                <a:spcPct val="150000"/>
              </a:lnSpc>
              <a:buClr>
                <a:schemeClr val="tx1"/>
              </a:buClr>
              <a:buSzPct val="150000"/>
              <a:defRPr/>
            </a:pPr>
            <a:r>
              <a:rPr lang="fr-FR" altLang="zh-CN" sz="2000" dirty="0">
                <a:latin typeface="+mn-ea"/>
              </a:rPr>
              <a:t>Centre d'essais cliniques de Shanghai: évaluation des nouvelles technologies liées aux tests cliniques d'amplification génique, diagnostic moléculaire, puce génétique</a:t>
            </a:r>
            <a:endParaRPr lang="en-US" altLang="zh-CN" sz="2000" dirty="0">
              <a:latin typeface="+mn-ea"/>
            </a:endParaRPr>
          </a:p>
          <a:p>
            <a:pPr marL="0" lvl="0" indent="0">
              <a:lnSpc>
                <a:spcPct val="150000"/>
              </a:lnSpc>
              <a:buClr>
                <a:schemeClr val="tx1"/>
              </a:buClr>
              <a:buSzPct val="150000"/>
              <a:buNone/>
              <a:defRPr/>
            </a:pPr>
            <a:endParaRPr lang="en-US" altLang="zh-CN" sz="2000" dirty="0">
              <a:latin typeface="+mn-ea"/>
            </a:endParaRPr>
          </a:p>
          <a:p>
            <a:pPr marL="0" lvl="0" indent="0">
              <a:lnSpc>
                <a:spcPct val="150000"/>
              </a:lnSpc>
              <a:buClr>
                <a:schemeClr val="tx1"/>
              </a:buClr>
              <a:buSzPct val="150000"/>
              <a:buNone/>
              <a:defRPr/>
            </a:pPr>
            <a:endParaRPr lang="zh-CN" altLang="en-US" sz="2000" dirty="0">
              <a:latin typeface="+mn-ea"/>
            </a:endParaRPr>
          </a:p>
        </p:txBody>
      </p:sp>
      <p:cxnSp>
        <p:nvCxnSpPr>
          <p:cNvPr id="10" name="直接连接符 9"/>
          <p:cNvCxnSpPr>
            <a:stCxn id="12" idx="4"/>
          </p:cNvCxnSpPr>
          <p:nvPr/>
        </p:nvCxnSpPr>
        <p:spPr>
          <a:xfrm>
            <a:off x="4914900" y="2346324"/>
            <a:ext cx="0" cy="3292476"/>
          </a:xfrm>
          <a:prstGeom prst="line">
            <a:avLst/>
          </a:prstGeom>
          <a:ln w="3175" cap="rnd">
            <a:solidFill>
              <a:schemeClr val="bg1">
                <a:lumMod val="75000"/>
              </a:schemeClr>
            </a:solidFill>
            <a:round/>
            <a:tailEnd type="oval"/>
          </a:ln>
        </p:spPr>
        <p:style>
          <a:lnRef idx="1">
            <a:schemeClr val="accent1"/>
          </a:lnRef>
          <a:fillRef idx="0">
            <a:schemeClr val="accent1"/>
          </a:fillRef>
          <a:effectRef idx="0">
            <a:schemeClr val="accent1"/>
          </a:effectRef>
          <a:fontRef idx="minor">
            <a:schemeClr val="tx1"/>
          </a:fontRef>
        </p:style>
      </p:cxnSp>
      <p:grpSp>
        <p:nvGrpSpPr>
          <p:cNvPr id="11" name="ïşľïdè"/>
          <p:cNvGrpSpPr/>
          <p:nvPr/>
        </p:nvGrpSpPr>
        <p:grpSpPr>
          <a:xfrm>
            <a:off x="4603750" y="1724024"/>
            <a:ext cx="622300" cy="622300"/>
            <a:chOff x="4849770" y="4185155"/>
            <a:chExt cx="876958" cy="876956"/>
          </a:xfrm>
        </p:grpSpPr>
        <p:sp>
          <p:nvSpPr>
            <p:cNvPr id="12" name="isḷíďê"/>
            <p:cNvSpPr/>
            <p:nvPr/>
          </p:nvSpPr>
          <p:spPr bwMode="auto">
            <a:xfrm>
              <a:off x="4849770" y="4185155"/>
              <a:ext cx="876958" cy="876956"/>
            </a:xfrm>
            <a:prstGeom prst="ellipse">
              <a:avLst/>
            </a:prstGeom>
            <a:solidFill>
              <a:schemeClr val="accent1"/>
            </a:solidFill>
            <a:ln w="28575">
              <a:solidFill>
                <a:schemeClr val="bg1"/>
              </a:solidFill>
            </a:ln>
            <a:effectLst/>
          </p:spPr>
          <p:txBody>
            <a:bodyPr wrap="square" lIns="91440" tIns="45720" rIns="91440" bIns="45720">
              <a:normAutofit fontScale="8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sz="3200"/>
            </a:p>
          </p:txBody>
        </p:sp>
        <p:sp>
          <p:nvSpPr>
            <p:cNvPr id="13" name="îṣlîḍé"/>
            <p:cNvSpPr/>
            <p:nvPr/>
          </p:nvSpPr>
          <p:spPr bwMode="auto">
            <a:xfrm>
              <a:off x="5071137" y="4435624"/>
              <a:ext cx="434232" cy="376038"/>
            </a:xfrm>
            <a:custGeom>
              <a:avLst/>
              <a:gdLst>
                <a:gd name="connsiteX0" fmla="*/ 332825 w 599014"/>
                <a:gd name="connsiteY0" fmla="*/ 323318 h 518742"/>
                <a:gd name="connsiteX1" fmla="*/ 480885 w 599014"/>
                <a:gd name="connsiteY1" fmla="*/ 323318 h 518742"/>
                <a:gd name="connsiteX2" fmla="*/ 508708 w 599014"/>
                <a:gd name="connsiteY2" fmla="*/ 351111 h 518742"/>
                <a:gd name="connsiteX3" fmla="*/ 480885 w 599014"/>
                <a:gd name="connsiteY3" fmla="*/ 378903 h 518742"/>
                <a:gd name="connsiteX4" fmla="*/ 332825 w 599014"/>
                <a:gd name="connsiteY4" fmla="*/ 378903 h 518742"/>
                <a:gd name="connsiteX5" fmla="*/ 305002 w 599014"/>
                <a:gd name="connsiteY5" fmla="*/ 351111 h 518742"/>
                <a:gd name="connsiteX6" fmla="*/ 332825 w 599014"/>
                <a:gd name="connsiteY6" fmla="*/ 323318 h 518742"/>
                <a:gd name="connsiteX7" fmla="*/ 332825 w 599014"/>
                <a:gd name="connsiteY7" fmla="*/ 230145 h 518742"/>
                <a:gd name="connsiteX8" fmla="*/ 480885 w 599014"/>
                <a:gd name="connsiteY8" fmla="*/ 230145 h 518742"/>
                <a:gd name="connsiteX9" fmla="*/ 508708 w 599014"/>
                <a:gd name="connsiteY9" fmla="*/ 257937 h 518742"/>
                <a:gd name="connsiteX10" fmla="*/ 480885 w 599014"/>
                <a:gd name="connsiteY10" fmla="*/ 285730 h 518742"/>
                <a:gd name="connsiteX11" fmla="*/ 332825 w 599014"/>
                <a:gd name="connsiteY11" fmla="*/ 285730 h 518742"/>
                <a:gd name="connsiteX12" fmla="*/ 305002 w 599014"/>
                <a:gd name="connsiteY12" fmla="*/ 257937 h 518742"/>
                <a:gd name="connsiteX13" fmla="*/ 332825 w 599014"/>
                <a:gd name="connsiteY13" fmla="*/ 230145 h 518742"/>
                <a:gd name="connsiteX14" fmla="*/ 24843 w 599014"/>
                <a:gd name="connsiteY14" fmla="*/ 151784 h 518742"/>
                <a:gd name="connsiteX15" fmla="*/ 183839 w 599014"/>
                <a:gd name="connsiteY15" fmla="*/ 151784 h 518742"/>
                <a:gd name="connsiteX16" fmla="*/ 207688 w 599014"/>
                <a:gd name="connsiteY16" fmla="*/ 176583 h 518742"/>
                <a:gd name="connsiteX17" fmla="*/ 207688 w 599014"/>
                <a:gd name="connsiteY17" fmla="*/ 329348 h 518742"/>
                <a:gd name="connsiteX18" fmla="*/ 182845 w 599014"/>
                <a:gd name="connsiteY18" fmla="*/ 354147 h 518742"/>
                <a:gd name="connsiteX19" fmla="*/ 163964 w 599014"/>
                <a:gd name="connsiteY19" fmla="*/ 344227 h 518742"/>
                <a:gd name="connsiteX20" fmla="*/ 155021 w 599014"/>
                <a:gd name="connsiteY20" fmla="*/ 494016 h 518742"/>
                <a:gd name="connsiteX21" fmla="*/ 129184 w 599014"/>
                <a:gd name="connsiteY21" fmla="*/ 516831 h 518742"/>
                <a:gd name="connsiteX22" fmla="*/ 78504 w 599014"/>
                <a:gd name="connsiteY22" fmla="*/ 516831 h 518742"/>
                <a:gd name="connsiteX23" fmla="*/ 53661 w 599014"/>
                <a:gd name="connsiteY23" fmla="*/ 494016 h 518742"/>
                <a:gd name="connsiteX24" fmla="*/ 43724 w 599014"/>
                <a:gd name="connsiteY24" fmla="*/ 345219 h 518742"/>
                <a:gd name="connsiteX25" fmla="*/ 24843 w 599014"/>
                <a:gd name="connsiteY25" fmla="*/ 354147 h 518742"/>
                <a:gd name="connsiteX26" fmla="*/ 994 w 599014"/>
                <a:gd name="connsiteY26" fmla="*/ 329348 h 518742"/>
                <a:gd name="connsiteX27" fmla="*/ 0 w 599014"/>
                <a:gd name="connsiteY27" fmla="*/ 176583 h 518742"/>
                <a:gd name="connsiteX28" fmla="*/ 24843 w 599014"/>
                <a:gd name="connsiteY28" fmla="*/ 151784 h 518742"/>
                <a:gd name="connsiteX29" fmla="*/ 332825 w 599014"/>
                <a:gd name="connsiteY29" fmla="*/ 137928 h 518742"/>
                <a:gd name="connsiteX30" fmla="*/ 480885 w 599014"/>
                <a:gd name="connsiteY30" fmla="*/ 137928 h 518742"/>
                <a:gd name="connsiteX31" fmla="*/ 508708 w 599014"/>
                <a:gd name="connsiteY31" fmla="*/ 165721 h 518742"/>
                <a:gd name="connsiteX32" fmla="*/ 480885 w 599014"/>
                <a:gd name="connsiteY32" fmla="*/ 193513 h 518742"/>
                <a:gd name="connsiteX33" fmla="*/ 332825 w 599014"/>
                <a:gd name="connsiteY33" fmla="*/ 193513 h 518742"/>
                <a:gd name="connsiteX34" fmla="*/ 305002 w 599014"/>
                <a:gd name="connsiteY34" fmla="*/ 165721 h 518742"/>
                <a:gd name="connsiteX35" fmla="*/ 332825 w 599014"/>
                <a:gd name="connsiteY35" fmla="*/ 137928 h 518742"/>
                <a:gd name="connsiteX36" fmla="*/ 347698 w 599014"/>
                <a:gd name="connsiteY36" fmla="*/ 55512 h 518742"/>
                <a:gd name="connsiteX37" fmla="*/ 347698 w 599014"/>
                <a:gd name="connsiteY37" fmla="*/ 61464 h 518742"/>
                <a:gd name="connsiteX38" fmla="*/ 283131 w 599014"/>
                <a:gd name="connsiteY38" fmla="*/ 124947 h 518742"/>
                <a:gd name="connsiteX39" fmla="*/ 276178 w 599014"/>
                <a:gd name="connsiteY39" fmla="*/ 124947 h 518742"/>
                <a:gd name="connsiteX40" fmla="*/ 276178 w 599014"/>
                <a:gd name="connsiteY40" fmla="*/ 456251 h 518742"/>
                <a:gd name="connsiteX41" fmla="*/ 283131 w 599014"/>
                <a:gd name="connsiteY41" fmla="*/ 463194 h 518742"/>
                <a:gd name="connsiteX42" fmla="*/ 536433 w 599014"/>
                <a:gd name="connsiteY42" fmla="*/ 463194 h 518742"/>
                <a:gd name="connsiteX43" fmla="*/ 543387 w 599014"/>
                <a:gd name="connsiteY43" fmla="*/ 456251 h 518742"/>
                <a:gd name="connsiteX44" fmla="*/ 542394 w 599014"/>
                <a:gd name="connsiteY44" fmla="*/ 62455 h 518742"/>
                <a:gd name="connsiteX45" fmla="*/ 536433 w 599014"/>
                <a:gd name="connsiteY45" fmla="*/ 55512 h 518742"/>
                <a:gd name="connsiteX46" fmla="*/ 337765 w 599014"/>
                <a:gd name="connsiteY46" fmla="*/ 956 h 518742"/>
                <a:gd name="connsiteX47" fmla="*/ 537427 w 599014"/>
                <a:gd name="connsiteY47" fmla="*/ 956 h 518742"/>
                <a:gd name="connsiteX48" fmla="*/ 599014 w 599014"/>
                <a:gd name="connsiteY48" fmla="*/ 62455 h 518742"/>
                <a:gd name="connsiteX49" fmla="*/ 599014 w 599014"/>
                <a:gd name="connsiteY49" fmla="*/ 456251 h 518742"/>
                <a:gd name="connsiteX50" fmla="*/ 537427 w 599014"/>
                <a:gd name="connsiteY50" fmla="*/ 518742 h 518742"/>
                <a:gd name="connsiteX51" fmla="*/ 283131 w 599014"/>
                <a:gd name="connsiteY51" fmla="*/ 518742 h 518742"/>
                <a:gd name="connsiteX52" fmla="*/ 221544 w 599014"/>
                <a:gd name="connsiteY52" fmla="*/ 456251 h 518742"/>
                <a:gd name="connsiteX53" fmla="*/ 221544 w 599014"/>
                <a:gd name="connsiteY53" fmla="*/ 117011 h 518742"/>
                <a:gd name="connsiteX54" fmla="*/ 237437 w 599014"/>
                <a:gd name="connsiteY54" fmla="*/ 79318 h 518742"/>
                <a:gd name="connsiteX55" fmla="*/ 298031 w 599014"/>
                <a:gd name="connsiteY55" fmla="*/ 17819 h 518742"/>
                <a:gd name="connsiteX56" fmla="*/ 301011 w 599014"/>
                <a:gd name="connsiteY56" fmla="*/ 15835 h 518742"/>
                <a:gd name="connsiteX57" fmla="*/ 337765 w 599014"/>
                <a:gd name="connsiteY57" fmla="*/ 956 h 518742"/>
                <a:gd name="connsiteX58" fmla="*/ 104322 w 599014"/>
                <a:gd name="connsiteY58" fmla="*/ 0 h 518742"/>
                <a:gd name="connsiteX59" fmla="*/ 171853 w 599014"/>
                <a:gd name="connsiteY59" fmla="*/ 67929 h 518742"/>
                <a:gd name="connsiteX60" fmla="*/ 104322 w 599014"/>
                <a:gd name="connsiteY60" fmla="*/ 135858 h 518742"/>
                <a:gd name="connsiteX61" fmla="*/ 36791 w 599014"/>
                <a:gd name="connsiteY61" fmla="*/ 67929 h 518742"/>
                <a:gd name="connsiteX62" fmla="*/ 104322 w 599014"/>
                <a:gd name="connsiteY62" fmla="*/ 0 h 518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599014" h="518742">
                  <a:moveTo>
                    <a:pt x="332825" y="323318"/>
                  </a:moveTo>
                  <a:lnTo>
                    <a:pt x="480885" y="323318"/>
                  </a:lnTo>
                  <a:cubicBezTo>
                    <a:pt x="495790" y="323318"/>
                    <a:pt x="507714" y="335229"/>
                    <a:pt x="508708" y="351111"/>
                  </a:cubicBezTo>
                  <a:cubicBezTo>
                    <a:pt x="508708" y="365999"/>
                    <a:pt x="495790" y="378903"/>
                    <a:pt x="480885" y="378903"/>
                  </a:cubicBezTo>
                  <a:lnTo>
                    <a:pt x="332825" y="378903"/>
                  </a:lnTo>
                  <a:cubicBezTo>
                    <a:pt x="317920" y="378903"/>
                    <a:pt x="305002" y="365999"/>
                    <a:pt x="305002" y="351111"/>
                  </a:cubicBezTo>
                  <a:cubicBezTo>
                    <a:pt x="305002" y="335229"/>
                    <a:pt x="317920" y="323318"/>
                    <a:pt x="332825" y="323318"/>
                  </a:cubicBezTo>
                  <a:close/>
                  <a:moveTo>
                    <a:pt x="332825" y="230145"/>
                  </a:moveTo>
                  <a:lnTo>
                    <a:pt x="480885" y="230145"/>
                  </a:lnTo>
                  <a:cubicBezTo>
                    <a:pt x="495790" y="230145"/>
                    <a:pt x="508708" y="243049"/>
                    <a:pt x="508708" y="257937"/>
                  </a:cubicBezTo>
                  <a:cubicBezTo>
                    <a:pt x="508708" y="273819"/>
                    <a:pt x="495790" y="285730"/>
                    <a:pt x="480885" y="285730"/>
                  </a:cubicBezTo>
                  <a:lnTo>
                    <a:pt x="332825" y="285730"/>
                  </a:lnTo>
                  <a:cubicBezTo>
                    <a:pt x="317920" y="285730"/>
                    <a:pt x="305002" y="273819"/>
                    <a:pt x="305002" y="257937"/>
                  </a:cubicBezTo>
                  <a:cubicBezTo>
                    <a:pt x="305002" y="243049"/>
                    <a:pt x="317920" y="230145"/>
                    <a:pt x="332825" y="230145"/>
                  </a:cubicBezTo>
                  <a:close/>
                  <a:moveTo>
                    <a:pt x="24843" y="151784"/>
                  </a:moveTo>
                  <a:cubicBezTo>
                    <a:pt x="34780" y="151784"/>
                    <a:pt x="183839" y="151784"/>
                    <a:pt x="183839" y="151784"/>
                  </a:cubicBezTo>
                  <a:cubicBezTo>
                    <a:pt x="196757" y="151784"/>
                    <a:pt x="207688" y="163688"/>
                    <a:pt x="207688" y="176583"/>
                  </a:cubicBezTo>
                  <a:lnTo>
                    <a:pt x="207688" y="329348"/>
                  </a:lnTo>
                  <a:cubicBezTo>
                    <a:pt x="207688" y="342243"/>
                    <a:pt x="196757" y="354147"/>
                    <a:pt x="182845" y="354147"/>
                  </a:cubicBezTo>
                  <a:cubicBezTo>
                    <a:pt x="175889" y="354147"/>
                    <a:pt x="168933" y="350179"/>
                    <a:pt x="163964" y="344227"/>
                  </a:cubicBezTo>
                  <a:lnTo>
                    <a:pt x="155021" y="494016"/>
                  </a:lnTo>
                  <a:cubicBezTo>
                    <a:pt x="154027" y="506911"/>
                    <a:pt x="143096" y="516831"/>
                    <a:pt x="129184" y="516831"/>
                  </a:cubicBezTo>
                  <a:lnTo>
                    <a:pt x="78504" y="516831"/>
                  </a:lnTo>
                  <a:cubicBezTo>
                    <a:pt x="65586" y="516831"/>
                    <a:pt x="54655" y="506911"/>
                    <a:pt x="53661" y="494016"/>
                  </a:cubicBezTo>
                  <a:lnTo>
                    <a:pt x="43724" y="345219"/>
                  </a:lnTo>
                  <a:cubicBezTo>
                    <a:pt x="39749" y="350179"/>
                    <a:pt x="32793" y="354147"/>
                    <a:pt x="24843" y="354147"/>
                  </a:cubicBezTo>
                  <a:cubicBezTo>
                    <a:pt x="11925" y="354147"/>
                    <a:pt x="994" y="343235"/>
                    <a:pt x="994" y="329348"/>
                  </a:cubicBezTo>
                  <a:lnTo>
                    <a:pt x="0" y="176583"/>
                  </a:lnTo>
                  <a:cubicBezTo>
                    <a:pt x="0" y="162696"/>
                    <a:pt x="10931" y="151784"/>
                    <a:pt x="24843" y="151784"/>
                  </a:cubicBezTo>
                  <a:close/>
                  <a:moveTo>
                    <a:pt x="332825" y="137928"/>
                  </a:moveTo>
                  <a:lnTo>
                    <a:pt x="480885" y="137928"/>
                  </a:lnTo>
                  <a:cubicBezTo>
                    <a:pt x="495790" y="137928"/>
                    <a:pt x="508708" y="149839"/>
                    <a:pt x="508708" y="165721"/>
                  </a:cubicBezTo>
                  <a:cubicBezTo>
                    <a:pt x="508708" y="180609"/>
                    <a:pt x="495790" y="193513"/>
                    <a:pt x="480885" y="193513"/>
                  </a:cubicBezTo>
                  <a:lnTo>
                    <a:pt x="332825" y="193513"/>
                  </a:lnTo>
                  <a:cubicBezTo>
                    <a:pt x="317920" y="193513"/>
                    <a:pt x="305002" y="180609"/>
                    <a:pt x="305002" y="165721"/>
                  </a:cubicBezTo>
                  <a:cubicBezTo>
                    <a:pt x="305002" y="149839"/>
                    <a:pt x="317920" y="137928"/>
                    <a:pt x="332825" y="137928"/>
                  </a:cubicBezTo>
                  <a:close/>
                  <a:moveTo>
                    <a:pt x="347698" y="55512"/>
                  </a:moveTo>
                  <a:lnTo>
                    <a:pt x="347698" y="61464"/>
                  </a:lnTo>
                  <a:cubicBezTo>
                    <a:pt x="347698" y="96181"/>
                    <a:pt x="318892" y="124947"/>
                    <a:pt x="283131" y="124947"/>
                  </a:cubicBezTo>
                  <a:lnTo>
                    <a:pt x="276178" y="124947"/>
                  </a:lnTo>
                  <a:lnTo>
                    <a:pt x="276178" y="456251"/>
                  </a:lnTo>
                  <a:cubicBezTo>
                    <a:pt x="276178" y="460218"/>
                    <a:pt x="279158" y="463194"/>
                    <a:pt x="283131" y="463194"/>
                  </a:cubicBezTo>
                  <a:lnTo>
                    <a:pt x="536433" y="463194"/>
                  </a:lnTo>
                  <a:cubicBezTo>
                    <a:pt x="540407" y="463194"/>
                    <a:pt x="543387" y="460218"/>
                    <a:pt x="543387" y="456251"/>
                  </a:cubicBezTo>
                  <a:lnTo>
                    <a:pt x="542394" y="62455"/>
                  </a:lnTo>
                  <a:cubicBezTo>
                    <a:pt x="542394" y="58488"/>
                    <a:pt x="540407" y="55512"/>
                    <a:pt x="536433" y="55512"/>
                  </a:cubicBezTo>
                  <a:close/>
                  <a:moveTo>
                    <a:pt x="337765" y="956"/>
                  </a:moveTo>
                  <a:lnTo>
                    <a:pt x="537427" y="956"/>
                  </a:lnTo>
                  <a:cubicBezTo>
                    <a:pt x="571200" y="956"/>
                    <a:pt x="599014" y="27738"/>
                    <a:pt x="599014" y="62455"/>
                  </a:cubicBezTo>
                  <a:lnTo>
                    <a:pt x="599014" y="456251"/>
                  </a:lnTo>
                  <a:cubicBezTo>
                    <a:pt x="599014" y="489976"/>
                    <a:pt x="571200" y="518742"/>
                    <a:pt x="537427" y="518742"/>
                  </a:cubicBezTo>
                  <a:lnTo>
                    <a:pt x="283131" y="518742"/>
                  </a:lnTo>
                  <a:cubicBezTo>
                    <a:pt x="249358" y="518742"/>
                    <a:pt x="221544" y="489976"/>
                    <a:pt x="221544" y="456251"/>
                  </a:cubicBezTo>
                  <a:lnTo>
                    <a:pt x="221544" y="117011"/>
                  </a:lnTo>
                  <a:cubicBezTo>
                    <a:pt x="221544" y="103125"/>
                    <a:pt x="226511" y="89238"/>
                    <a:pt x="237437" y="79318"/>
                  </a:cubicBezTo>
                  <a:cubicBezTo>
                    <a:pt x="257304" y="58488"/>
                    <a:pt x="278164" y="38649"/>
                    <a:pt x="298031" y="17819"/>
                  </a:cubicBezTo>
                  <a:cubicBezTo>
                    <a:pt x="298031" y="17819"/>
                    <a:pt x="299025" y="16827"/>
                    <a:pt x="301011" y="15835"/>
                  </a:cubicBezTo>
                  <a:cubicBezTo>
                    <a:pt x="310945" y="5916"/>
                    <a:pt x="323858" y="956"/>
                    <a:pt x="337765" y="956"/>
                  </a:cubicBezTo>
                  <a:close/>
                  <a:moveTo>
                    <a:pt x="104322" y="0"/>
                  </a:moveTo>
                  <a:cubicBezTo>
                    <a:pt x="141618" y="0"/>
                    <a:pt x="171853" y="30413"/>
                    <a:pt x="171853" y="67929"/>
                  </a:cubicBezTo>
                  <a:cubicBezTo>
                    <a:pt x="171853" y="105445"/>
                    <a:pt x="141618" y="135858"/>
                    <a:pt x="104322" y="135858"/>
                  </a:cubicBezTo>
                  <a:cubicBezTo>
                    <a:pt x="67026" y="135858"/>
                    <a:pt x="36791" y="105445"/>
                    <a:pt x="36791" y="67929"/>
                  </a:cubicBezTo>
                  <a:cubicBezTo>
                    <a:pt x="36791" y="30413"/>
                    <a:pt x="67026" y="0"/>
                    <a:pt x="104322" y="0"/>
                  </a:cubicBezTo>
                  <a:close/>
                </a:path>
              </a:pathLst>
            </a:custGeom>
            <a:solidFill>
              <a:schemeClr val="bg1"/>
            </a:solidFill>
            <a:ln>
              <a:noFill/>
            </a:ln>
          </p:spPr>
          <p:txBody>
            <a:bodyPr wrap="square" lIns="91440" tIns="45720" rIns="91440" bIns="45720">
              <a:normAutofit fontScale="775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sp>
        <p:nvSpPr>
          <p:cNvPr id="14" name="标题 1"/>
          <p:cNvSpPr>
            <a:spLocks noGrp="1"/>
          </p:cNvSpPr>
          <p:nvPr>
            <p:ph type="title"/>
          </p:nvPr>
        </p:nvSpPr>
        <p:spPr>
          <a:xfrm>
            <a:off x="669925" y="0"/>
            <a:ext cx="10850563" cy="1028700"/>
          </a:xfrm>
        </p:spPr>
        <p:txBody>
          <a:bodyPr/>
          <a:lstStyle/>
          <a:p>
            <a:r>
              <a:rPr lang="fr-FR" altLang="zh-CN" dirty="0" smtClean="0"/>
              <a:t>Processus </a:t>
            </a:r>
            <a:r>
              <a:rPr lang="fr-FR" altLang="zh-CN" dirty="0"/>
              <a:t>principal</a:t>
            </a:r>
            <a:endParaRPr lang="zh-CN" altLang="en-US"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fr-FR" altLang="zh-CN" dirty="0" smtClean="0"/>
              <a:t>Processus </a:t>
            </a:r>
            <a:r>
              <a:rPr lang="fr-FR" altLang="zh-CN" dirty="0"/>
              <a:t>principal</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t>8</a:t>
            </a:fld>
            <a:endParaRPr lang="zh-CN" altLang="en-US"/>
          </a:p>
        </p:txBody>
      </p:sp>
      <p:sp>
        <p:nvSpPr>
          <p:cNvPr id="6" name="íṣlïḓe"/>
          <p:cNvSpPr/>
          <p:nvPr/>
        </p:nvSpPr>
        <p:spPr>
          <a:xfrm>
            <a:off x="0" y="1130300"/>
            <a:ext cx="4914900" cy="1809749"/>
          </a:xfrm>
          <a:prstGeom prst="rect">
            <a:avLst/>
          </a:prstGeom>
          <a:blipFill>
            <a:blip r:embed="rId3"/>
            <a:srcRect/>
            <a:stretch>
              <a:fillRect t="-40812" b="-40241"/>
            </a:stretch>
          </a:blipFill>
          <a:ln w="19050">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lang="zh-CN" altLang="en-US"/>
          </a:p>
        </p:txBody>
      </p:sp>
      <p:sp>
        <p:nvSpPr>
          <p:cNvPr id="8" name="isļîďé"/>
          <p:cNvSpPr txBox="1"/>
          <p:nvPr/>
        </p:nvSpPr>
        <p:spPr>
          <a:xfrm>
            <a:off x="208792" y="3034099"/>
            <a:ext cx="4397973" cy="1181101"/>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buSzPct val="25000"/>
            </a:pPr>
            <a:r>
              <a:rPr lang="zh-CN" altLang="en-US" sz="2400" b="1" dirty="0"/>
              <a:t>分类管理</a:t>
            </a:r>
            <a:endParaRPr lang="en-US" altLang="zh-CN" sz="2400" b="1" dirty="0"/>
          </a:p>
        </p:txBody>
      </p:sp>
      <p:sp>
        <p:nvSpPr>
          <p:cNvPr id="9" name="îSļíḋé"/>
          <p:cNvSpPr txBox="1"/>
          <p:nvPr/>
        </p:nvSpPr>
        <p:spPr>
          <a:xfrm>
            <a:off x="5231173" y="2651580"/>
            <a:ext cx="6297452" cy="1615526"/>
          </a:xfrm>
          <a:prstGeom prst="rect">
            <a:avLst/>
          </a:prstGeom>
          <a:noFill/>
          <a:ln>
            <a:noFill/>
          </a:ln>
        </p:spPr>
        <p:txBody>
          <a:bodyPr wrap="square" lIns="91440" tIns="45720" rIns="91440" bIns="45720" anchor="t" anchorCtr="0">
            <a:normAutofit/>
          </a:bodyPr>
          <a:lstStyle>
            <a:defPPr>
              <a:defRPr lang="zh-CN"/>
            </a:defPPr>
            <a:lvl1pPr marL="171450" indent="-171450">
              <a:lnSpc>
                <a:spcPct val="150000"/>
              </a:lnSpc>
              <a:buClr>
                <a:schemeClr val="tx1"/>
              </a:buClr>
              <a:buSzPct val="150000"/>
              <a:buFont typeface="Arial" charset="0"/>
              <a:buChar char="•"/>
              <a:defRPr sz="1600" b="1">
                <a:latin typeface="+mn-ea"/>
              </a:defRPr>
            </a:lvl1pPr>
          </a:lstStyle>
          <a:p>
            <a:pPr>
              <a:lnSpc>
                <a:spcPct val="100000"/>
              </a:lnSpc>
            </a:pPr>
            <a:endParaRPr lang="zh-CN" altLang="en-US" sz="1400" b="0" dirty="0"/>
          </a:p>
        </p:txBody>
      </p:sp>
      <p:cxnSp>
        <p:nvCxnSpPr>
          <p:cNvPr id="10" name="直接连接符 9"/>
          <p:cNvCxnSpPr/>
          <p:nvPr/>
        </p:nvCxnSpPr>
        <p:spPr>
          <a:xfrm>
            <a:off x="4914900" y="1078706"/>
            <a:ext cx="0" cy="4943475"/>
          </a:xfrm>
          <a:prstGeom prst="line">
            <a:avLst/>
          </a:prstGeom>
          <a:ln w="3175" cap="rnd">
            <a:solidFill>
              <a:schemeClr val="bg1">
                <a:lumMod val="75000"/>
              </a:schemeClr>
            </a:solidFill>
            <a:round/>
            <a:tailEnd type="oval"/>
          </a:ln>
        </p:spPr>
        <p:style>
          <a:lnRef idx="1">
            <a:schemeClr val="accent1"/>
          </a:lnRef>
          <a:fillRef idx="0">
            <a:schemeClr val="accent1"/>
          </a:fillRef>
          <a:effectRef idx="0">
            <a:schemeClr val="accent1"/>
          </a:effectRef>
          <a:fontRef idx="minor">
            <a:schemeClr val="tx1"/>
          </a:fontRef>
        </p:style>
      </p:cxnSp>
      <p:grpSp>
        <p:nvGrpSpPr>
          <p:cNvPr id="11" name="ïşľïdè"/>
          <p:cNvGrpSpPr/>
          <p:nvPr/>
        </p:nvGrpSpPr>
        <p:grpSpPr>
          <a:xfrm>
            <a:off x="4603750" y="1528990"/>
            <a:ext cx="622300" cy="622300"/>
            <a:chOff x="4849770" y="4185155"/>
            <a:chExt cx="876958" cy="876956"/>
          </a:xfrm>
        </p:grpSpPr>
        <p:sp>
          <p:nvSpPr>
            <p:cNvPr id="12" name="isḷíďê"/>
            <p:cNvSpPr/>
            <p:nvPr/>
          </p:nvSpPr>
          <p:spPr bwMode="auto">
            <a:xfrm>
              <a:off x="4849770" y="4185155"/>
              <a:ext cx="876958" cy="876956"/>
            </a:xfrm>
            <a:prstGeom prst="ellipse">
              <a:avLst/>
            </a:prstGeom>
            <a:solidFill>
              <a:schemeClr val="accent1"/>
            </a:solidFill>
            <a:ln w="28575">
              <a:solidFill>
                <a:schemeClr val="bg1"/>
              </a:solidFill>
            </a:ln>
            <a:effectLst/>
          </p:spPr>
          <p:txBody>
            <a:bodyPr wrap="square" lIns="91440" tIns="45720" rIns="91440" bIns="45720">
              <a:normAutofit fontScale="8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sz="3200"/>
            </a:p>
          </p:txBody>
        </p:sp>
        <p:sp>
          <p:nvSpPr>
            <p:cNvPr id="13" name="îṣlîḍé"/>
            <p:cNvSpPr/>
            <p:nvPr/>
          </p:nvSpPr>
          <p:spPr bwMode="auto">
            <a:xfrm>
              <a:off x="5071137" y="4435624"/>
              <a:ext cx="434232" cy="376038"/>
            </a:xfrm>
            <a:custGeom>
              <a:avLst/>
              <a:gdLst>
                <a:gd name="connsiteX0" fmla="*/ 332825 w 599014"/>
                <a:gd name="connsiteY0" fmla="*/ 323318 h 518742"/>
                <a:gd name="connsiteX1" fmla="*/ 480885 w 599014"/>
                <a:gd name="connsiteY1" fmla="*/ 323318 h 518742"/>
                <a:gd name="connsiteX2" fmla="*/ 508708 w 599014"/>
                <a:gd name="connsiteY2" fmla="*/ 351111 h 518742"/>
                <a:gd name="connsiteX3" fmla="*/ 480885 w 599014"/>
                <a:gd name="connsiteY3" fmla="*/ 378903 h 518742"/>
                <a:gd name="connsiteX4" fmla="*/ 332825 w 599014"/>
                <a:gd name="connsiteY4" fmla="*/ 378903 h 518742"/>
                <a:gd name="connsiteX5" fmla="*/ 305002 w 599014"/>
                <a:gd name="connsiteY5" fmla="*/ 351111 h 518742"/>
                <a:gd name="connsiteX6" fmla="*/ 332825 w 599014"/>
                <a:gd name="connsiteY6" fmla="*/ 323318 h 518742"/>
                <a:gd name="connsiteX7" fmla="*/ 332825 w 599014"/>
                <a:gd name="connsiteY7" fmla="*/ 230145 h 518742"/>
                <a:gd name="connsiteX8" fmla="*/ 480885 w 599014"/>
                <a:gd name="connsiteY8" fmla="*/ 230145 h 518742"/>
                <a:gd name="connsiteX9" fmla="*/ 508708 w 599014"/>
                <a:gd name="connsiteY9" fmla="*/ 257937 h 518742"/>
                <a:gd name="connsiteX10" fmla="*/ 480885 w 599014"/>
                <a:gd name="connsiteY10" fmla="*/ 285730 h 518742"/>
                <a:gd name="connsiteX11" fmla="*/ 332825 w 599014"/>
                <a:gd name="connsiteY11" fmla="*/ 285730 h 518742"/>
                <a:gd name="connsiteX12" fmla="*/ 305002 w 599014"/>
                <a:gd name="connsiteY12" fmla="*/ 257937 h 518742"/>
                <a:gd name="connsiteX13" fmla="*/ 332825 w 599014"/>
                <a:gd name="connsiteY13" fmla="*/ 230145 h 518742"/>
                <a:gd name="connsiteX14" fmla="*/ 24843 w 599014"/>
                <a:gd name="connsiteY14" fmla="*/ 151784 h 518742"/>
                <a:gd name="connsiteX15" fmla="*/ 183839 w 599014"/>
                <a:gd name="connsiteY15" fmla="*/ 151784 h 518742"/>
                <a:gd name="connsiteX16" fmla="*/ 207688 w 599014"/>
                <a:gd name="connsiteY16" fmla="*/ 176583 h 518742"/>
                <a:gd name="connsiteX17" fmla="*/ 207688 w 599014"/>
                <a:gd name="connsiteY17" fmla="*/ 329348 h 518742"/>
                <a:gd name="connsiteX18" fmla="*/ 182845 w 599014"/>
                <a:gd name="connsiteY18" fmla="*/ 354147 h 518742"/>
                <a:gd name="connsiteX19" fmla="*/ 163964 w 599014"/>
                <a:gd name="connsiteY19" fmla="*/ 344227 h 518742"/>
                <a:gd name="connsiteX20" fmla="*/ 155021 w 599014"/>
                <a:gd name="connsiteY20" fmla="*/ 494016 h 518742"/>
                <a:gd name="connsiteX21" fmla="*/ 129184 w 599014"/>
                <a:gd name="connsiteY21" fmla="*/ 516831 h 518742"/>
                <a:gd name="connsiteX22" fmla="*/ 78504 w 599014"/>
                <a:gd name="connsiteY22" fmla="*/ 516831 h 518742"/>
                <a:gd name="connsiteX23" fmla="*/ 53661 w 599014"/>
                <a:gd name="connsiteY23" fmla="*/ 494016 h 518742"/>
                <a:gd name="connsiteX24" fmla="*/ 43724 w 599014"/>
                <a:gd name="connsiteY24" fmla="*/ 345219 h 518742"/>
                <a:gd name="connsiteX25" fmla="*/ 24843 w 599014"/>
                <a:gd name="connsiteY25" fmla="*/ 354147 h 518742"/>
                <a:gd name="connsiteX26" fmla="*/ 994 w 599014"/>
                <a:gd name="connsiteY26" fmla="*/ 329348 h 518742"/>
                <a:gd name="connsiteX27" fmla="*/ 0 w 599014"/>
                <a:gd name="connsiteY27" fmla="*/ 176583 h 518742"/>
                <a:gd name="connsiteX28" fmla="*/ 24843 w 599014"/>
                <a:gd name="connsiteY28" fmla="*/ 151784 h 518742"/>
                <a:gd name="connsiteX29" fmla="*/ 332825 w 599014"/>
                <a:gd name="connsiteY29" fmla="*/ 137928 h 518742"/>
                <a:gd name="connsiteX30" fmla="*/ 480885 w 599014"/>
                <a:gd name="connsiteY30" fmla="*/ 137928 h 518742"/>
                <a:gd name="connsiteX31" fmla="*/ 508708 w 599014"/>
                <a:gd name="connsiteY31" fmla="*/ 165721 h 518742"/>
                <a:gd name="connsiteX32" fmla="*/ 480885 w 599014"/>
                <a:gd name="connsiteY32" fmla="*/ 193513 h 518742"/>
                <a:gd name="connsiteX33" fmla="*/ 332825 w 599014"/>
                <a:gd name="connsiteY33" fmla="*/ 193513 h 518742"/>
                <a:gd name="connsiteX34" fmla="*/ 305002 w 599014"/>
                <a:gd name="connsiteY34" fmla="*/ 165721 h 518742"/>
                <a:gd name="connsiteX35" fmla="*/ 332825 w 599014"/>
                <a:gd name="connsiteY35" fmla="*/ 137928 h 518742"/>
                <a:gd name="connsiteX36" fmla="*/ 347698 w 599014"/>
                <a:gd name="connsiteY36" fmla="*/ 55512 h 518742"/>
                <a:gd name="connsiteX37" fmla="*/ 347698 w 599014"/>
                <a:gd name="connsiteY37" fmla="*/ 61464 h 518742"/>
                <a:gd name="connsiteX38" fmla="*/ 283131 w 599014"/>
                <a:gd name="connsiteY38" fmla="*/ 124947 h 518742"/>
                <a:gd name="connsiteX39" fmla="*/ 276178 w 599014"/>
                <a:gd name="connsiteY39" fmla="*/ 124947 h 518742"/>
                <a:gd name="connsiteX40" fmla="*/ 276178 w 599014"/>
                <a:gd name="connsiteY40" fmla="*/ 456251 h 518742"/>
                <a:gd name="connsiteX41" fmla="*/ 283131 w 599014"/>
                <a:gd name="connsiteY41" fmla="*/ 463194 h 518742"/>
                <a:gd name="connsiteX42" fmla="*/ 536433 w 599014"/>
                <a:gd name="connsiteY42" fmla="*/ 463194 h 518742"/>
                <a:gd name="connsiteX43" fmla="*/ 543387 w 599014"/>
                <a:gd name="connsiteY43" fmla="*/ 456251 h 518742"/>
                <a:gd name="connsiteX44" fmla="*/ 542394 w 599014"/>
                <a:gd name="connsiteY44" fmla="*/ 62455 h 518742"/>
                <a:gd name="connsiteX45" fmla="*/ 536433 w 599014"/>
                <a:gd name="connsiteY45" fmla="*/ 55512 h 518742"/>
                <a:gd name="connsiteX46" fmla="*/ 337765 w 599014"/>
                <a:gd name="connsiteY46" fmla="*/ 956 h 518742"/>
                <a:gd name="connsiteX47" fmla="*/ 537427 w 599014"/>
                <a:gd name="connsiteY47" fmla="*/ 956 h 518742"/>
                <a:gd name="connsiteX48" fmla="*/ 599014 w 599014"/>
                <a:gd name="connsiteY48" fmla="*/ 62455 h 518742"/>
                <a:gd name="connsiteX49" fmla="*/ 599014 w 599014"/>
                <a:gd name="connsiteY49" fmla="*/ 456251 h 518742"/>
                <a:gd name="connsiteX50" fmla="*/ 537427 w 599014"/>
                <a:gd name="connsiteY50" fmla="*/ 518742 h 518742"/>
                <a:gd name="connsiteX51" fmla="*/ 283131 w 599014"/>
                <a:gd name="connsiteY51" fmla="*/ 518742 h 518742"/>
                <a:gd name="connsiteX52" fmla="*/ 221544 w 599014"/>
                <a:gd name="connsiteY52" fmla="*/ 456251 h 518742"/>
                <a:gd name="connsiteX53" fmla="*/ 221544 w 599014"/>
                <a:gd name="connsiteY53" fmla="*/ 117011 h 518742"/>
                <a:gd name="connsiteX54" fmla="*/ 237437 w 599014"/>
                <a:gd name="connsiteY54" fmla="*/ 79318 h 518742"/>
                <a:gd name="connsiteX55" fmla="*/ 298031 w 599014"/>
                <a:gd name="connsiteY55" fmla="*/ 17819 h 518742"/>
                <a:gd name="connsiteX56" fmla="*/ 301011 w 599014"/>
                <a:gd name="connsiteY56" fmla="*/ 15835 h 518742"/>
                <a:gd name="connsiteX57" fmla="*/ 337765 w 599014"/>
                <a:gd name="connsiteY57" fmla="*/ 956 h 518742"/>
                <a:gd name="connsiteX58" fmla="*/ 104322 w 599014"/>
                <a:gd name="connsiteY58" fmla="*/ 0 h 518742"/>
                <a:gd name="connsiteX59" fmla="*/ 171853 w 599014"/>
                <a:gd name="connsiteY59" fmla="*/ 67929 h 518742"/>
                <a:gd name="connsiteX60" fmla="*/ 104322 w 599014"/>
                <a:gd name="connsiteY60" fmla="*/ 135858 h 518742"/>
                <a:gd name="connsiteX61" fmla="*/ 36791 w 599014"/>
                <a:gd name="connsiteY61" fmla="*/ 67929 h 518742"/>
                <a:gd name="connsiteX62" fmla="*/ 104322 w 599014"/>
                <a:gd name="connsiteY62" fmla="*/ 0 h 518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599014" h="518742">
                  <a:moveTo>
                    <a:pt x="332825" y="323318"/>
                  </a:moveTo>
                  <a:lnTo>
                    <a:pt x="480885" y="323318"/>
                  </a:lnTo>
                  <a:cubicBezTo>
                    <a:pt x="495790" y="323318"/>
                    <a:pt x="507714" y="335229"/>
                    <a:pt x="508708" y="351111"/>
                  </a:cubicBezTo>
                  <a:cubicBezTo>
                    <a:pt x="508708" y="365999"/>
                    <a:pt x="495790" y="378903"/>
                    <a:pt x="480885" y="378903"/>
                  </a:cubicBezTo>
                  <a:lnTo>
                    <a:pt x="332825" y="378903"/>
                  </a:lnTo>
                  <a:cubicBezTo>
                    <a:pt x="317920" y="378903"/>
                    <a:pt x="305002" y="365999"/>
                    <a:pt x="305002" y="351111"/>
                  </a:cubicBezTo>
                  <a:cubicBezTo>
                    <a:pt x="305002" y="335229"/>
                    <a:pt x="317920" y="323318"/>
                    <a:pt x="332825" y="323318"/>
                  </a:cubicBezTo>
                  <a:close/>
                  <a:moveTo>
                    <a:pt x="332825" y="230145"/>
                  </a:moveTo>
                  <a:lnTo>
                    <a:pt x="480885" y="230145"/>
                  </a:lnTo>
                  <a:cubicBezTo>
                    <a:pt x="495790" y="230145"/>
                    <a:pt x="508708" y="243049"/>
                    <a:pt x="508708" y="257937"/>
                  </a:cubicBezTo>
                  <a:cubicBezTo>
                    <a:pt x="508708" y="273819"/>
                    <a:pt x="495790" y="285730"/>
                    <a:pt x="480885" y="285730"/>
                  </a:cubicBezTo>
                  <a:lnTo>
                    <a:pt x="332825" y="285730"/>
                  </a:lnTo>
                  <a:cubicBezTo>
                    <a:pt x="317920" y="285730"/>
                    <a:pt x="305002" y="273819"/>
                    <a:pt x="305002" y="257937"/>
                  </a:cubicBezTo>
                  <a:cubicBezTo>
                    <a:pt x="305002" y="243049"/>
                    <a:pt x="317920" y="230145"/>
                    <a:pt x="332825" y="230145"/>
                  </a:cubicBezTo>
                  <a:close/>
                  <a:moveTo>
                    <a:pt x="24843" y="151784"/>
                  </a:moveTo>
                  <a:cubicBezTo>
                    <a:pt x="34780" y="151784"/>
                    <a:pt x="183839" y="151784"/>
                    <a:pt x="183839" y="151784"/>
                  </a:cubicBezTo>
                  <a:cubicBezTo>
                    <a:pt x="196757" y="151784"/>
                    <a:pt x="207688" y="163688"/>
                    <a:pt x="207688" y="176583"/>
                  </a:cubicBezTo>
                  <a:lnTo>
                    <a:pt x="207688" y="329348"/>
                  </a:lnTo>
                  <a:cubicBezTo>
                    <a:pt x="207688" y="342243"/>
                    <a:pt x="196757" y="354147"/>
                    <a:pt x="182845" y="354147"/>
                  </a:cubicBezTo>
                  <a:cubicBezTo>
                    <a:pt x="175889" y="354147"/>
                    <a:pt x="168933" y="350179"/>
                    <a:pt x="163964" y="344227"/>
                  </a:cubicBezTo>
                  <a:lnTo>
                    <a:pt x="155021" y="494016"/>
                  </a:lnTo>
                  <a:cubicBezTo>
                    <a:pt x="154027" y="506911"/>
                    <a:pt x="143096" y="516831"/>
                    <a:pt x="129184" y="516831"/>
                  </a:cubicBezTo>
                  <a:lnTo>
                    <a:pt x="78504" y="516831"/>
                  </a:lnTo>
                  <a:cubicBezTo>
                    <a:pt x="65586" y="516831"/>
                    <a:pt x="54655" y="506911"/>
                    <a:pt x="53661" y="494016"/>
                  </a:cubicBezTo>
                  <a:lnTo>
                    <a:pt x="43724" y="345219"/>
                  </a:lnTo>
                  <a:cubicBezTo>
                    <a:pt x="39749" y="350179"/>
                    <a:pt x="32793" y="354147"/>
                    <a:pt x="24843" y="354147"/>
                  </a:cubicBezTo>
                  <a:cubicBezTo>
                    <a:pt x="11925" y="354147"/>
                    <a:pt x="994" y="343235"/>
                    <a:pt x="994" y="329348"/>
                  </a:cubicBezTo>
                  <a:lnTo>
                    <a:pt x="0" y="176583"/>
                  </a:lnTo>
                  <a:cubicBezTo>
                    <a:pt x="0" y="162696"/>
                    <a:pt x="10931" y="151784"/>
                    <a:pt x="24843" y="151784"/>
                  </a:cubicBezTo>
                  <a:close/>
                  <a:moveTo>
                    <a:pt x="332825" y="137928"/>
                  </a:moveTo>
                  <a:lnTo>
                    <a:pt x="480885" y="137928"/>
                  </a:lnTo>
                  <a:cubicBezTo>
                    <a:pt x="495790" y="137928"/>
                    <a:pt x="508708" y="149839"/>
                    <a:pt x="508708" y="165721"/>
                  </a:cubicBezTo>
                  <a:cubicBezTo>
                    <a:pt x="508708" y="180609"/>
                    <a:pt x="495790" y="193513"/>
                    <a:pt x="480885" y="193513"/>
                  </a:cubicBezTo>
                  <a:lnTo>
                    <a:pt x="332825" y="193513"/>
                  </a:lnTo>
                  <a:cubicBezTo>
                    <a:pt x="317920" y="193513"/>
                    <a:pt x="305002" y="180609"/>
                    <a:pt x="305002" y="165721"/>
                  </a:cubicBezTo>
                  <a:cubicBezTo>
                    <a:pt x="305002" y="149839"/>
                    <a:pt x="317920" y="137928"/>
                    <a:pt x="332825" y="137928"/>
                  </a:cubicBezTo>
                  <a:close/>
                  <a:moveTo>
                    <a:pt x="347698" y="55512"/>
                  </a:moveTo>
                  <a:lnTo>
                    <a:pt x="347698" y="61464"/>
                  </a:lnTo>
                  <a:cubicBezTo>
                    <a:pt x="347698" y="96181"/>
                    <a:pt x="318892" y="124947"/>
                    <a:pt x="283131" y="124947"/>
                  </a:cubicBezTo>
                  <a:lnTo>
                    <a:pt x="276178" y="124947"/>
                  </a:lnTo>
                  <a:lnTo>
                    <a:pt x="276178" y="456251"/>
                  </a:lnTo>
                  <a:cubicBezTo>
                    <a:pt x="276178" y="460218"/>
                    <a:pt x="279158" y="463194"/>
                    <a:pt x="283131" y="463194"/>
                  </a:cubicBezTo>
                  <a:lnTo>
                    <a:pt x="536433" y="463194"/>
                  </a:lnTo>
                  <a:cubicBezTo>
                    <a:pt x="540407" y="463194"/>
                    <a:pt x="543387" y="460218"/>
                    <a:pt x="543387" y="456251"/>
                  </a:cubicBezTo>
                  <a:lnTo>
                    <a:pt x="542394" y="62455"/>
                  </a:lnTo>
                  <a:cubicBezTo>
                    <a:pt x="542394" y="58488"/>
                    <a:pt x="540407" y="55512"/>
                    <a:pt x="536433" y="55512"/>
                  </a:cubicBezTo>
                  <a:close/>
                  <a:moveTo>
                    <a:pt x="337765" y="956"/>
                  </a:moveTo>
                  <a:lnTo>
                    <a:pt x="537427" y="956"/>
                  </a:lnTo>
                  <a:cubicBezTo>
                    <a:pt x="571200" y="956"/>
                    <a:pt x="599014" y="27738"/>
                    <a:pt x="599014" y="62455"/>
                  </a:cubicBezTo>
                  <a:lnTo>
                    <a:pt x="599014" y="456251"/>
                  </a:lnTo>
                  <a:cubicBezTo>
                    <a:pt x="599014" y="489976"/>
                    <a:pt x="571200" y="518742"/>
                    <a:pt x="537427" y="518742"/>
                  </a:cubicBezTo>
                  <a:lnTo>
                    <a:pt x="283131" y="518742"/>
                  </a:lnTo>
                  <a:cubicBezTo>
                    <a:pt x="249358" y="518742"/>
                    <a:pt x="221544" y="489976"/>
                    <a:pt x="221544" y="456251"/>
                  </a:cubicBezTo>
                  <a:lnTo>
                    <a:pt x="221544" y="117011"/>
                  </a:lnTo>
                  <a:cubicBezTo>
                    <a:pt x="221544" y="103125"/>
                    <a:pt x="226511" y="89238"/>
                    <a:pt x="237437" y="79318"/>
                  </a:cubicBezTo>
                  <a:cubicBezTo>
                    <a:pt x="257304" y="58488"/>
                    <a:pt x="278164" y="38649"/>
                    <a:pt x="298031" y="17819"/>
                  </a:cubicBezTo>
                  <a:cubicBezTo>
                    <a:pt x="298031" y="17819"/>
                    <a:pt x="299025" y="16827"/>
                    <a:pt x="301011" y="15835"/>
                  </a:cubicBezTo>
                  <a:cubicBezTo>
                    <a:pt x="310945" y="5916"/>
                    <a:pt x="323858" y="956"/>
                    <a:pt x="337765" y="956"/>
                  </a:cubicBezTo>
                  <a:close/>
                  <a:moveTo>
                    <a:pt x="104322" y="0"/>
                  </a:moveTo>
                  <a:cubicBezTo>
                    <a:pt x="141618" y="0"/>
                    <a:pt x="171853" y="30413"/>
                    <a:pt x="171853" y="67929"/>
                  </a:cubicBezTo>
                  <a:cubicBezTo>
                    <a:pt x="171853" y="105445"/>
                    <a:pt x="141618" y="135858"/>
                    <a:pt x="104322" y="135858"/>
                  </a:cubicBezTo>
                  <a:cubicBezTo>
                    <a:pt x="67026" y="135858"/>
                    <a:pt x="36791" y="105445"/>
                    <a:pt x="36791" y="67929"/>
                  </a:cubicBezTo>
                  <a:cubicBezTo>
                    <a:pt x="36791" y="30413"/>
                    <a:pt x="67026" y="0"/>
                    <a:pt x="104322" y="0"/>
                  </a:cubicBezTo>
                  <a:close/>
                </a:path>
              </a:pathLst>
            </a:custGeom>
            <a:solidFill>
              <a:schemeClr val="bg1"/>
            </a:solidFill>
            <a:ln>
              <a:noFill/>
            </a:ln>
          </p:spPr>
          <p:txBody>
            <a:bodyPr wrap="square" lIns="91440" tIns="45720" rIns="91440" bIns="45720">
              <a:normAutofit fontScale="775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grpSp>
        <p:nvGrpSpPr>
          <p:cNvPr id="14" name="ïşľïdè"/>
          <p:cNvGrpSpPr/>
          <p:nvPr/>
        </p:nvGrpSpPr>
        <p:grpSpPr>
          <a:xfrm>
            <a:off x="4598627" y="4706710"/>
            <a:ext cx="622300" cy="622300"/>
            <a:chOff x="4849770" y="4185155"/>
            <a:chExt cx="876958" cy="876956"/>
          </a:xfrm>
        </p:grpSpPr>
        <p:sp>
          <p:nvSpPr>
            <p:cNvPr id="15" name="isḷíďê"/>
            <p:cNvSpPr/>
            <p:nvPr/>
          </p:nvSpPr>
          <p:spPr bwMode="auto">
            <a:xfrm>
              <a:off x="4849770" y="4185155"/>
              <a:ext cx="876958" cy="876956"/>
            </a:xfrm>
            <a:prstGeom prst="ellipse">
              <a:avLst/>
            </a:prstGeom>
            <a:solidFill>
              <a:schemeClr val="accent1"/>
            </a:solidFill>
            <a:ln w="28575">
              <a:solidFill>
                <a:schemeClr val="bg1"/>
              </a:solidFill>
            </a:ln>
            <a:effectLst/>
          </p:spPr>
          <p:txBody>
            <a:bodyPr wrap="square" lIns="91440" tIns="45720" rIns="91440" bIns="45720">
              <a:normAutofit fontScale="8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sz="3200"/>
            </a:p>
          </p:txBody>
        </p:sp>
        <p:sp>
          <p:nvSpPr>
            <p:cNvPr id="16" name="îṣlîḍé"/>
            <p:cNvSpPr/>
            <p:nvPr/>
          </p:nvSpPr>
          <p:spPr bwMode="auto">
            <a:xfrm>
              <a:off x="5071137" y="4435624"/>
              <a:ext cx="434232" cy="376038"/>
            </a:xfrm>
            <a:custGeom>
              <a:avLst/>
              <a:gdLst>
                <a:gd name="connsiteX0" fmla="*/ 332825 w 599014"/>
                <a:gd name="connsiteY0" fmla="*/ 323318 h 518742"/>
                <a:gd name="connsiteX1" fmla="*/ 480885 w 599014"/>
                <a:gd name="connsiteY1" fmla="*/ 323318 h 518742"/>
                <a:gd name="connsiteX2" fmla="*/ 508708 w 599014"/>
                <a:gd name="connsiteY2" fmla="*/ 351111 h 518742"/>
                <a:gd name="connsiteX3" fmla="*/ 480885 w 599014"/>
                <a:gd name="connsiteY3" fmla="*/ 378903 h 518742"/>
                <a:gd name="connsiteX4" fmla="*/ 332825 w 599014"/>
                <a:gd name="connsiteY4" fmla="*/ 378903 h 518742"/>
                <a:gd name="connsiteX5" fmla="*/ 305002 w 599014"/>
                <a:gd name="connsiteY5" fmla="*/ 351111 h 518742"/>
                <a:gd name="connsiteX6" fmla="*/ 332825 w 599014"/>
                <a:gd name="connsiteY6" fmla="*/ 323318 h 518742"/>
                <a:gd name="connsiteX7" fmla="*/ 332825 w 599014"/>
                <a:gd name="connsiteY7" fmla="*/ 230145 h 518742"/>
                <a:gd name="connsiteX8" fmla="*/ 480885 w 599014"/>
                <a:gd name="connsiteY8" fmla="*/ 230145 h 518742"/>
                <a:gd name="connsiteX9" fmla="*/ 508708 w 599014"/>
                <a:gd name="connsiteY9" fmla="*/ 257937 h 518742"/>
                <a:gd name="connsiteX10" fmla="*/ 480885 w 599014"/>
                <a:gd name="connsiteY10" fmla="*/ 285730 h 518742"/>
                <a:gd name="connsiteX11" fmla="*/ 332825 w 599014"/>
                <a:gd name="connsiteY11" fmla="*/ 285730 h 518742"/>
                <a:gd name="connsiteX12" fmla="*/ 305002 w 599014"/>
                <a:gd name="connsiteY12" fmla="*/ 257937 h 518742"/>
                <a:gd name="connsiteX13" fmla="*/ 332825 w 599014"/>
                <a:gd name="connsiteY13" fmla="*/ 230145 h 518742"/>
                <a:gd name="connsiteX14" fmla="*/ 24843 w 599014"/>
                <a:gd name="connsiteY14" fmla="*/ 151784 h 518742"/>
                <a:gd name="connsiteX15" fmla="*/ 183839 w 599014"/>
                <a:gd name="connsiteY15" fmla="*/ 151784 h 518742"/>
                <a:gd name="connsiteX16" fmla="*/ 207688 w 599014"/>
                <a:gd name="connsiteY16" fmla="*/ 176583 h 518742"/>
                <a:gd name="connsiteX17" fmla="*/ 207688 w 599014"/>
                <a:gd name="connsiteY17" fmla="*/ 329348 h 518742"/>
                <a:gd name="connsiteX18" fmla="*/ 182845 w 599014"/>
                <a:gd name="connsiteY18" fmla="*/ 354147 h 518742"/>
                <a:gd name="connsiteX19" fmla="*/ 163964 w 599014"/>
                <a:gd name="connsiteY19" fmla="*/ 344227 h 518742"/>
                <a:gd name="connsiteX20" fmla="*/ 155021 w 599014"/>
                <a:gd name="connsiteY20" fmla="*/ 494016 h 518742"/>
                <a:gd name="connsiteX21" fmla="*/ 129184 w 599014"/>
                <a:gd name="connsiteY21" fmla="*/ 516831 h 518742"/>
                <a:gd name="connsiteX22" fmla="*/ 78504 w 599014"/>
                <a:gd name="connsiteY22" fmla="*/ 516831 h 518742"/>
                <a:gd name="connsiteX23" fmla="*/ 53661 w 599014"/>
                <a:gd name="connsiteY23" fmla="*/ 494016 h 518742"/>
                <a:gd name="connsiteX24" fmla="*/ 43724 w 599014"/>
                <a:gd name="connsiteY24" fmla="*/ 345219 h 518742"/>
                <a:gd name="connsiteX25" fmla="*/ 24843 w 599014"/>
                <a:gd name="connsiteY25" fmla="*/ 354147 h 518742"/>
                <a:gd name="connsiteX26" fmla="*/ 994 w 599014"/>
                <a:gd name="connsiteY26" fmla="*/ 329348 h 518742"/>
                <a:gd name="connsiteX27" fmla="*/ 0 w 599014"/>
                <a:gd name="connsiteY27" fmla="*/ 176583 h 518742"/>
                <a:gd name="connsiteX28" fmla="*/ 24843 w 599014"/>
                <a:gd name="connsiteY28" fmla="*/ 151784 h 518742"/>
                <a:gd name="connsiteX29" fmla="*/ 332825 w 599014"/>
                <a:gd name="connsiteY29" fmla="*/ 137928 h 518742"/>
                <a:gd name="connsiteX30" fmla="*/ 480885 w 599014"/>
                <a:gd name="connsiteY30" fmla="*/ 137928 h 518742"/>
                <a:gd name="connsiteX31" fmla="*/ 508708 w 599014"/>
                <a:gd name="connsiteY31" fmla="*/ 165721 h 518742"/>
                <a:gd name="connsiteX32" fmla="*/ 480885 w 599014"/>
                <a:gd name="connsiteY32" fmla="*/ 193513 h 518742"/>
                <a:gd name="connsiteX33" fmla="*/ 332825 w 599014"/>
                <a:gd name="connsiteY33" fmla="*/ 193513 h 518742"/>
                <a:gd name="connsiteX34" fmla="*/ 305002 w 599014"/>
                <a:gd name="connsiteY34" fmla="*/ 165721 h 518742"/>
                <a:gd name="connsiteX35" fmla="*/ 332825 w 599014"/>
                <a:gd name="connsiteY35" fmla="*/ 137928 h 518742"/>
                <a:gd name="connsiteX36" fmla="*/ 347698 w 599014"/>
                <a:gd name="connsiteY36" fmla="*/ 55512 h 518742"/>
                <a:gd name="connsiteX37" fmla="*/ 347698 w 599014"/>
                <a:gd name="connsiteY37" fmla="*/ 61464 h 518742"/>
                <a:gd name="connsiteX38" fmla="*/ 283131 w 599014"/>
                <a:gd name="connsiteY38" fmla="*/ 124947 h 518742"/>
                <a:gd name="connsiteX39" fmla="*/ 276178 w 599014"/>
                <a:gd name="connsiteY39" fmla="*/ 124947 h 518742"/>
                <a:gd name="connsiteX40" fmla="*/ 276178 w 599014"/>
                <a:gd name="connsiteY40" fmla="*/ 456251 h 518742"/>
                <a:gd name="connsiteX41" fmla="*/ 283131 w 599014"/>
                <a:gd name="connsiteY41" fmla="*/ 463194 h 518742"/>
                <a:gd name="connsiteX42" fmla="*/ 536433 w 599014"/>
                <a:gd name="connsiteY42" fmla="*/ 463194 h 518742"/>
                <a:gd name="connsiteX43" fmla="*/ 543387 w 599014"/>
                <a:gd name="connsiteY43" fmla="*/ 456251 h 518742"/>
                <a:gd name="connsiteX44" fmla="*/ 542394 w 599014"/>
                <a:gd name="connsiteY44" fmla="*/ 62455 h 518742"/>
                <a:gd name="connsiteX45" fmla="*/ 536433 w 599014"/>
                <a:gd name="connsiteY45" fmla="*/ 55512 h 518742"/>
                <a:gd name="connsiteX46" fmla="*/ 337765 w 599014"/>
                <a:gd name="connsiteY46" fmla="*/ 956 h 518742"/>
                <a:gd name="connsiteX47" fmla="*/ 537427 w 599014"/>
                <a:gd name="connsiteY47" fmla="*/ 956 h 518742"/>
                <a:gd name="connsiteX48" fmla="*/ 599014 w 599014"/>
                <a:gd name="connsiteY48" fmla="*/ 62455 h 518742"/>
                <a:gd name="connsiteX49" fmla="*/ 599014 w 599014"/>
                <a:gd name="connsiteY49" fmla="*/ 456251 h 518742"/>
                <a:gd name="connsiteX50" fmla="*/ 537427 w 599014"/>
                <a:gd name="connsiteY50" fmla="*/ 518742 h 518742"/>
                <a:gd name="connsiteX51" fmla="*/ 283131 w 599014"/>
                <a:gd name="connsiteY51" fmla="*/ 518742 h 518742"/>
                <a:gd name="connsiteX52" fmla="*/ 221544 w 599014"/>
                <a:gd name="connsiteY52" fmla="*/ 456251 h 518742"/>
                <a:gd name="connsiteX53" fmla="*/ 221544 w 599014"/>
                <a:gd name="connsiteY53" fmla="*/ 117011 h 518742"/>
                <a:gd name="connsiteX54" fmla="*/ 237437 w 599014"/>
                <a:gd name="connsiteY54" fmla="*/ 79318 h 518742"/>
                <a:gd name="connsiteX55" fmla="*/ 298031 w 599014"/>
                <a:gd name="connsiteY55" fmla="*/ 17819 h 518742"/>
                <a:gd name="connsiteX56" fmla="*/ 301011 w 599014"/>
                <a:gd name="connsiteY56" fmla="*/ 15835 h 518742"/>
                <a:gd name="connsiteX57" fmla="*/ 337765 w 599014"/>
                <a:gd name="connsiteY57" fmla="*/ 956 h 518742"/>
                <a:gd name="connsiteX58" fmla="*/ 104322 w 599014"/>
                <a:gd name="connsiteY58" fmla="*/ 0 h 518742"/>
                <a:gd name="connsiteX59" fmla="*/ 171853 w 599014"/>
                <a:gd name="connsiteY59" fmla="*/ 67929 h 518742"/>
                <a:gd name="connsiteX60" fmla="*/ 104322 w 599014"/>
                <a:gd name="connsiteY60" fmla="*/ 135858 h 518742"/>
                <a:gd name="connsiteX61" fmla="*/ 36791 w 599014"/>
                <a:gd name="connsiteY61" fmla="*/ 67929 h 518742"/>
                <a:gd name="connsiteX62" fmla="*/ 104322 w 599014"/>
                <a:gd name="connsiteY62" fmla="*/ 0 h 518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599014" h="518742">
                  <a:moveTo>
                    <a:pt x="332825" y="323318"/>
                  </a:moveTo>
                  <a:lnTo>
                    <a:pt x="480885" y="323318"/>
                  </a:lnTo>
                  <a:cubicBezTo>
                    <a:pt x="495790" y="323318"/>
                    <a:pt x="507714" y="335229"/>
                    <a:pt x="508708" y="351111"/>
                  </a:cubicBezTo>
                  <a:cubicBezTo>
                    <a:pt x="508708" y="365999"/>
                    <a:pt x="495790" y="378903"/>
                    <a:pt x="480885" y="378903"/>
                  </a:cubicBezTo>
                  <a:lnTo>
                    <a:pt x="332825" y="378903"/>
                  </a:lnTo>
                  <a:cubicBezTo>
                    <a:pt x="317920" y="378903"/>
                    <a:pt x="305002" y="365999"/>
                    <a:pt x="305002" y="351111"/>
                  </a:cubicBezTo>
                  <a:cubicBezTo>
                    <a:pt x="305002" y="335229"/>
                    <a:pt x="317920" y="323318"/>
                    <a:pt x="332825" y="323318"/>
                  </a:cubicBezTo>
                  <a:close/>
                  <a:moveTo>
                    <a:pt x="332825" y="230145"/>
                  </a:moveTo>
                  <a:lnTo>
                    <a:pt x="480885" y="230145"/>
                  </a:lnTo>
                  <a:cubicBezTo>
                    <a:pt x="495790" y="230145"/>
                    <a:pt x="508708" y="243049"/>
                    <a:pt x="508708" y="257937"/>
                  </a:cubicBezTo>
                  <a:cubicBezTo>
                    <a:pt x="508708" y="273819"/>
                    <a:pt x="495790" y="285730"/>
                    <a:pt x="480885" y="285730"/>
                  </a:cubicBezTo>
                  <a:lnTo>
                    <a:pt x="332825" y="285730"/>
                  </a:lnTo>
                  <a:cubicBezTo>
                    <a:pt x="317920" y="285730"/>
                    <a:pt x="305002" y="273819"/>
                    <a:pt x="305002" y="257937"/>
                  </a:cubicBezTo>
                  <a:cubicBezTo>
                    <a:pt x="305002" y="243049"/>
                    <a:pt x="317920" y="230145"/>
                    <a:pt x="332825" y="230145"/>
                  </a:cubicBezTo>
                  <a:close/>
                  <a:moveTo>
                    <a:pt x="24843" y="151784"/>
                  </a:moveTo>
                  <a:cubicBezTo>
                    <a:pt x="34780" y="151784"/>
                    <a:pt x="183839" y="151784"/>
                    <a:pt x="183839" y="151784"/>
                  </a:cubicBezTo>
                  <a:cubicBezTo>
                    <a:pt x="196757" y="151784"/>
                    <a:pt x="207688" y="163688"/>
                    <a:pt x="207688" y="176583"/>
                  </a:cubicBezTo>
                  <a:lnTo>
                    <a:pt x="207688" y="329348"/>
                  </a:lnTo>
                  <a:cubicBezTo>
                    <a:pt x="207688" y="342243"/>
                    <a:pt x="196757" y="354147"/>
                    <a:pt x="182845" y="354147"/>
                  </a:cubicBezTo>
                  <a:cubicBezTo>
                    <a:pt x="175889" y="354147"/>
                    <a:pt x="168933" y="350179"/>
                    <a:pt x="163964" y="344227"/>
                  </a:cubicBezTo>
                  <a:lnTo>
                    <a:pt x="155021" y="494016"/>
                  </a:lnTo>
                  <a:cubicBezTo>
                    <a:pt x="154027" y="506911"/>
                    <a:pt x="143096" y="516831"/>
                    <a:pt x="129184" y="516831"/>
                  </a:cubicBezTo>
                  <a:lnTo>
                    <a:pt x="78504" y="516831"/>
                  </a:lnTo>
                  <a:cubicBezTo>
                    <a:pt x="65586" y="516831"/>
                    <a:pt x="54655" y="506911"/>
                    <a:pt x="53661" y="494016"/>
                  </a:cubicBezTo>
                  <a:lnTo>
                    <a:pt x="43724" y="345219"/>
                  </a:lnTo>
                  <a:cubicBezTo>
                    <a:pt x="39749" y="350179"/>
                    <a:pt x="32793" y="354147"/>
                    <a:pt x="24843" y="354147"/>
                  </a:cubicBezTo>
                  <a:cubicBezTo>
                    <a:pt x="11925" y="354147"/>
                    <a:pt x="994" y="343235"/>
                    <a:pt x="994" y="329348"/>
                  </a:cubicBezTo>
                  <a:lnTo>
                    <a:pt x="0" y="176583"/>
                  </a:lnTo>
                  <a:cubicBezTo>
                    <a:pt x="0" y="162696"/>
                    <a:pt x="10931" y="151784"/>
                    <a:pt x="24843" y="151784"/>
                  </a:cubicBezTo>
                  <a:close/>
                  <a:moveTo>
                    <a:pt x="332825" y="137928"/>
                  </a:moveTo>
                  <a:lnTo>
                    <a:pt x="480885" y="137928"/>
                  </a:lnTo>
                  <a:cubicBezTo>
                    <a:pt x="495790" y="137928"/>
                    <a:pt x="508708" y="149839"/>
                    <a:pt x="508708" y="165721"/>
                  </a:cubicBezTo>
                  <a:cubicBezTo>
                    <a:pt x="508708" y="180609"/>
                    <a:pt x="495790" y="193513"/>
                    <a:pt x="480885" y="193513"/>
                  </a:cubicBezTo>
                  <a:lnTo>
                    <a:pt x="332825" y="193513"/>
                  </a:lnTo>
                  <a:cubicBezTo>
                    <a:pt x="317920" y="193513"/>
                    <a:pt x="305002" y="180609"/>
                    <a:pt x="305002" y="165721"/>
                  </a:cubicBezTo>
                  <a:cubicBezTo>
                    <a:pt x="305002" y="149839"/>
                    <a:pt x="317920" y="137928"/>
                    <a:pt x="332825" y="137928"/>
                  </a:cubicBezTo>
                  <a:close/>
                  <a:moveTo>
                    <a:pt x="347698" y="55512"/>
                  </a:moveTo>
                  <a:lnTo>
                    <a:pt x="347698" y="61464"/>
                  </a:lnTo>
                  <a:cubicBezTo>
                    <a:pt x="347698" y="96181"/>
                    <a:pt x="318892" y="124947"/>
                    <a:pt x="283131" y="124947"/>
                  </a:cubicBezTo>
                  <a:lnTo>
                    <a:pt x="276178" y="124947"/>
                  </a:lnTo>
                  <a:lnTo>
                    <a:pt x="276178" y="456251"/>
                  </a:lnTo>
                  <a:cubicBezTo>
                    <a:pt x="276178" y="460218"/>
                    <a:pt x="279158" y="463194"/>
                    <a:pt x="283131" y="463194"/>
                  </a:cubicBezTo>
                  <a:lnTo>
                    <a:pt x="536433" y="463194"/>
                  </a:lnTo>
                  <a:cubicBezTo>
                    <a:pt x="540407" y="463194"/>
                    <a:pt x="543387" y="460218"/>
                    <a:pt x="543387" y="456251"/>
                  </a:cubicBezTo>
                  <a:lnTo>
                    <a:pt x="542394" y="62455"/>
                  </a:lnTo>
                  <a:cubicBezTo>
                    <a:pt x="542394" y="58488"/>
                    <a:pt x="540407" y="55512"/>
                    <a:pt x="536433" y="55512"/>
                  </a:cubicBezTo>
                  <a:close/>
                  <a:moveTo>
                    <a:pt x="337765" y="956"/>
                  </a:moveTo>
                  <a:lnTo>
                    <a:pt x="537427" y="956"/>
                  </a:lnTo>
                  <a:cubicBezTo>
                    <a:pt x="571200" y="956"/>
                    <a:pt x="599014" y="27738"/>
                    <a:pt x="599014" y="62455"/>
                  </a:cubicBezTo>
                  <a:lnTo>
                    <a:pt x="599014" y="456251"/>
                  </a:lnTo>
                  <a:cubicBezTo>
                    <a:pt x="599014" y="489976"/>
                    <a:pt x="571200" y="518742"/>
                    <a:pt x="537427" y="518742"/>
                  </a:cubicBezTo>
                  <a:lnTo>
                    <a:pt x="283131" y="518742"/>
                  </a:lnTo>
                  <a:cubicBezTo>
                    <a:pt x="249358" y="518742"/>
                    <a:pt x="221544" y="489976"/>
                    <a:pt x="221544" y="456251"/>
                  </a:cubicBezTo>
                  <a:lnTo>
                    <a:pt x="221544" y="117011"/>
                  </a:lnTo>
                  <a:cubicBezTo>
                    <a:pt x="221544" y="103125"/>
                    <a:pt x="226511" y="89238"/>
                    <a:pt x="237437" y="79318"/>
                  </a:cubicBezTo>
                  <a:cubicBezTo>
                    <a:pt x="257304" y="58488"/>
                    <a:pt x="278164" y="38649"/>
                    <a:pt x="298031" y="17819"/>
                  </a:cubicBezTo>
                  <a:cubicBezTo>
                    <a:pt x="298031" y="17819"/>
                    <a:pt x="299025" y="16827"/>
                    <a:pt x="301011" y="15835"/>
                  </a:cubicBezTo>
                  <a:cubicBezTo>
                    <a:pt x="310945" y="5916"/>
                    <a:pt x="323858" y="956"/>
                    <a:pt x="337765" y="956"/>
                  </a:cubicBezTo>
                  <a:close/>
                  <a:moveTo>
                    <a:pt x="104322" y="0"/>
                  </a:moveTo>
                  <a:cubicBezTo>
                    <a:pt x="141618" y="0"/>
                    <a:pt x="171853" y="30413"/>
                    <a:pt x="171853" y="67929"/>
                  </a:cubicBezTo>
                  <a:cubicBezTo>
                    <a:pt x="171853" y="105445"/>
                    <a:pt x="141618" y="135858"/>
                    <a:pt x="104322" y="135858"/>
                  </a:cubicBezTo>
                  <a:cubicBezTo>
                    <a:pt x="67026" y="135858"/>
                    <a:pt x="36791" y="105445"/>
                    <a:pt x="36791" y="67929"/>
                  </a:cubicBezTo>
                  <a:cubicBezTo>
                    <a:pt x="36791" y="30413"/>
                    <a:pt x="67026" y="0"/>
                    <a:pt x="104322" y="0"/>
                  </a:cubicBezTo>
                  <a:close/>
                </a:path>
              </a:pathLst>
            </a:custGeom>
            <a:solidFill>
              <a:schemeClr val="bg1"/>
            </a:solidFill>
            <a:ln>
              <a:noFill/>
            </a:ln>
          </p:spPr>
          <p:txBody>
            <a:bodyPr wrap="square" lIns="91440" tIns="45720" rIns="91440" bIns="45720">
              <a:normAutofit fontScale="775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sp>
        <p:nvSpPr>
          <p:cNvPr id="17" name="îSļíḋé"/>
          <p:cNvSpPr txBox="1"/>
          <p:nvPr/>
        </p:nvSpPr>
        <p:spPr>
          <a:xfrm>
            <a:off x="5231173" y="2733835"/>
            <a:ext cx="6297452" cy="1615526"/>
          </a:xfrm>
          <a:prstGeom prst="rect">
            <a:avLst/>
          </a:prstGeom>
          <a:noFill/>
          <a:ln>
            <a:noFill/>
          </a:ln>
        </p:spPr>
        <p:txBody>
          <a:bodyPr wrap="square" lIns="91440" tIns="45720" rIns="91440" bIns="45720" anchor="t" anchorCtr="0">
            <a:normAutofit fontScale="85000" lnSpcReduction="20000"/>
          </a:bodyPr>
          <a:lstStyle>
            <a:defPPr>
              <a:defRPr lang="zh-CN"/>
            </a:defPPr>
            <a:lvl1pPr marL="171450" indent="-171450">
              <a:lnSpc>
                <a:spcPct val="160000"/>
              </a:lnSpc>
              <a:buFont typeface="Arial" charset="0"/>
              <a:buChar char="•"/>
              <a:defRPr sz="1100"/>
            </a:lvl1pPr>
          </a:lstStyle>
          <a:p>
            <a:pPr marL="0" lvl="0" indent="0">
              <a:lnSpc>
                <a:spcPct val="100000"/>
              </a:lnSpc>
              <a:buClr>
                <a:schemeClr val="tx1"/>
              </a:buClr>
              <a:buSzPct val="150000"/>
              <a:buNone/>
              <a:defRPr/>
            </a:pPr>
            <a:r>
              <a:rPr lang="fr-FR" altLang="zh-CN" sz="1400" b="1" dirty="0" smtClean="0">
                <a:solidFill>
                  <a:srgbClr val="FF0000"/>
                </a:solidFill>
                <a:latin typeface="+mn-ea"/>
              </a:rPr>
              <a:t>Technologie </a:t>
            </a:r>
            <a:r>
              <a:rPr lang="fr-FR" altLang="zh-CN" sz="1400" b="1" dirty="0">
                <a:solidFill>
                  <a:srgbClr val="FF0000"/>
                </a:solidFill>
                <a:latin typeface="+mn-ea"/>
              </a:rPr>
              <a:t>restreinte</a:t>
            </a:r>
          </a:p>
          <a:p>
            <a:pPr marL="0" lvl="0" indent="0">
              <a:lnSpc>
                <a:spcPct val="100000"/>
              </a:lnSpc>
              <a:buClr>
                <a:schemeClr val="tx1"/>
              </a:buClr>
              <a:buSzPct val="150000"/>
              <a:buNone/>
              <a:defRPr/>
            </a:pPr>
            <a:endParaRPr lang="fr-FR" altLang="zh-CN" sz="1400" b="1" dirty="0">
              <a:solidFill>
                <a:srgbClr val="FF0000"/>
              </a:solidFill>
              <a:latin typeface="+mn-ea"/>
            </a:endParaRPr>
          </a:p>
          <a:p>
            <a:pPr marL="0" lvl="0" indent="0">
              <a:lnSpc>
                <a:spcPct val="100000"/>
              </a:lnSpc>
              <a:buClr>
                <a:schemeClr val="tx1"/>
              </a:buClr>
              <a:buSzPct val="150000"/>
              <a:buNone/>
              <a:defRPr/>
            </a:pPr>
            <a:r>
              <a:rPr lang="fr-FR" altLang="zh-CN" sz="1400" b="1" dirty="0">
                <a:solidFill>
                  <a:srgbClr val="FF0000"/>
                </a:solidFill>
                <a:latin typeface="+mn-ea"/>
              </a:rPr>
              <a:t>Difficulté technique, risque élevé, exigences professionnelles élevées pour les capacités de service et les niveaux de personnel des institutions médicales et la nécessité de mettre en place des conditions limitées de technologie médicale, ou la nécessité de consommer des ressources rares, impliquent des risques éthiques majeurs ou ont des besoins d'application clinique déraisonnables La technologie médicale sous gestion clé doit être incluse dans la liste des "technologies restreintes" et la mise en œuvre de la gestion des enregistrements</a:t>
            </a:r>
            <a:endParaRPr lang="zh-CN" altLang="en-US" sz="1400" b="1" dirty="0">
              <a:solidFill>
                <a:srgbClr val="FF0000"/>
              </a:solidFill>
              <a:latin typeface="+mn-ea"/>
            </a:endParaRPr>
          </a:p>
        </p:txBody>
      </p:sp>
      <p:sp>
        <p:nvSpPr>
          <p:cNvPr id="18" name="îSļíḋé"/>
          <p:cNvSpPr txBox="1"/>
          <p:nvPr/>
        </p:nvSpPr>
        <p:spPr>
          <a:xfrm>
            <a:off x="5231173" y="1146727"/>
            <a:ext cx="6297452" cy="1386826"/>
          </a:xfrm>
          <a:prstGeom prst="rect">
            <a:avLst/>
          </a:prstGeom>
          <a:noFill/>
          <a:ln>
            <a:noFill/>
          </a:ln>
        </p:spPr>
        <p:txBody>
          <a:bodyPr wrap="square" lIns="91440" tIns="45720" rIns="91440" bIns="45720" anchor="t" anchorCtr="0">
            <a:normAutofit fontScale="70000" lnSpcReduction="20000"/>
          </a:bodyPr>
          <a:lstStyle>
            <a:defPPr>
              <a:defRPr lang="zh-CN"/>
            </a:defPPr>
            <a:lvl1pPr marL="171450" indent="-171450">
              <a:lnSpc>
                <a:spcPct val="160000"/>
              </a:lnSpc>
              <a:buFont typeface="Arial" charset="0"/>
              <a:buChar char="•"/>
              <a:defRPr sz="1100"/>
            </a:lvl1pPr>
          </a:lstStyle>
          <a:p>
            <a:pPr marL="0" indent="0">
              <a:lnSpc>
                <a:spcPct val="120000"/>
              </a:lnSpc>
              <a:buClr>
                <a:schemeClr val="tx1"/>
              </a:buClr>
              <a:buSzPct val="150000"/>
              <a:buNone/>
              <a:defRPr/>
            </a:pPr>
            <a:r>
              <a:rPr lang="fr-FR" altLang="zh-CN" sz="1400" b="1" dirty="0" smtClean="0">
                <a:solidFill>
                  <a:srgbClr val="FF0000"/>
                </a:solidFill>
                <a:latin typeface="+mn-ea"/>
              </a:rPr>
              <a:t>Technologie </a:t>
            </a:r>
            <a:r>
              <a:rPr lang="fr-FR" altLang="zh-CN" sz="1400" b="1" dirty="0">
                <a:solidFill>
                  <a:srgbClr val="FF0000"/>
                </a:solidFill>
                <a:latin typeface="+mn-ea"/>
              </a:rPr>
              <a:t>interdite</a:t>
            </a:r>
          </a:p>
          <a:p>
            <a:pPr marL="0" indent="0">
              <a:lnSpc>
                <a:spcPct val="120000"/>
              </a:lnSpc>
              <a:buClr>
                <a:schemeClr val="tx1"/>
              </a:buClr>
              <a:buSzPct val="150000"/>
              <a:buNone/>
              <a:defRPr/>
            </a:pPr>
            <a:endParaRPr lang="fr-FR" altLang="zh-CN" sz="1400" b="1" dirty="0">
              <a:solidFill>
                <a:srgbClr val="FF0000"/>
              </a:solidFill>
              <a:latin typeface="+mn-ea"/>
            </a:endParaRPr>
          </a:p>
          <a:p>
            <a:pPr marL="0" indent="0">
              <a:lnSpc>
                <a:spcPct val="120000"/>
              </a:lnSpc>
              <a:buClr>
                <a:schemeClr val="tx1"/>
              </a:buClr>
              <a:buSzPct val="150000"/>
              <a:buNone/>
              <a:defRPr/>
            </a:pPr>
            <a:r>
              <a:rPr lang="fr-FR" altLang="zh-CN" sz="1400" b="1" dirty="0">
                <a:solidFill>
                  <a:srgbClr val="FF0000"/>
                </a:solidFill>
                <a:latin typeface="+mn-ea"/>
              </a:rPr>
              <a:t>Les technologies médicales dont </a:t>
            </a:r>
            <a:r>
              <a:rPr lang="fr-FR" altLang="zh-CN" sz="1400" b="1" dirty="0" smtClean="0">
                <a:solidFill>
                  <a:srgbClr val="FF0000"/>
                </a:solidFill>
                <a:latin typeface="+mn-ea"/>
              </a:rPr>
              <a:t>l‘innocuité </a:t>
            </a:r>
            <a:r>
              <a:rPr lang="fr-FR" altLang="zh-CN" sz="1400" b="1" dirty="0">
                <a:solidFill>
                  <a:srgbClr val="FF0000"/>
                </a:solidFill>
                <a:latin typeface="+mn-ea"/>
              </a:rPr>
              <a:t>et </a:t>
            </a:r>
            <a:r>
              <a:rPr lang="fr-FR" altLang="zh-CN" sz="1400" b="1" dirty="0" smtClean="0">
                <a:solidFill>
                  <a:srgbClr val="FF0000"/>
                </a:solidFill>
                <a:latin typeface="+mn-ea"/>
              </a:rPr>
              <a:t>l’efficacité </a:t>
            </a:r>
            <a:r>
              <a:rPr lang="fr-FR" altLang="zh-CN" sz="1400" b="1" dirty="0">
                <a:solidFill>
                  <a:srgbClr val="FF0000"/>
                </a:solidFill>
                <a:latin typeface="+mn-ea"/>
              </a:rPr>
              <a:t>sont inexactes, ou les technologies médicales présentant des problèmes éthiques majeurs, ou les technologies médicales qui ont été cliniquement éliminées et les nouvelles technologies médicales qui </a:t>
            </a:r>
            <a:r>
              <a:rPr lang="fr-FR" altLang="zh-CN" sz="1400" b="1" dirty="0" smtClean="0">
                <a:solidFill>
                  <a:srgbClr val="FF0000"/>
                </a:solidFill>
                <a:latin typeface="+mn-ea"/>
              </a:rPr>
              <a:t>n‘ont </a:t>
            </a:r>
            <a:r>
              <a:rPr lang="fr-FR" altLang="zh-CN" sz="1400" b="1" dirty="0">
                <a:solidFill>
                  <a:srgbClr val="FF0000"/>
                </a:solidFill>
                <a:latin typeface="+mn-ea"/>
              </a:rPr>
              <a:t>pas été démontrées par la recherche clinique sont incluses dans la liste des «technologies interdites» et leur </a:t>
            </a:r>
            <a:r>
              <a:rPr lang="fr-FR" altLang="zh-CN" sz="1400" b="1" dirty="0" smtClean="0">
                <a:solidFill>
                  <a:srgbClr val="FF0000"/>
                </a:solidFill>
                <a:latin typeface="+mn-ea"/>
              </a:rPr>
              <a:t>application clinique</a:t>
            </a:r>
            <a:r>
              <a:rPr lang="zh-CN" altLang="fr-FR" sz="1400" b="1" dirty="0" smtClean="0">
                <a:solidFill>
                  <a:srgbClr val="FF0000"/>
                </a:solidFill>
                <a:latin typeface="+mn-ea"/>
              </a:rPr>
              <a:t> </a:t>
            </a:r>
            <a:r>
              <a:rPr lang="fr-FR" altLang="zh-CN" sz="1400" b="1" dirty="0" smtClean="0">
                <a:solidFill>
                  <a:srgbClr val="FF0000"/>
                </a:solidFill>
                <a:latin typeface="+mn-ea"/>
              </a:rPr>
              <a:t>est </a:t>
            </a:r>
            <a:r>
              <a:rPr lang="fr-FR" altLang="zh-CN" sz="1400" b="1" dirty="0">
                <a:solidFill>
                  <a:srgbClr val="FF0000"/>
                </a:solidFill>
                <a:latin typeface="+mn-ea"/>
              </a:rPr>
              <a:t>interdite. </a:t>
            </a:r>
            <a:endParaRPr lang="zh-CN" altLang="en-US" sz="1400" b="1" dirty="0">
              <a:solidFill>
                <a:srgbClr val="FF0000"/>
              </a:solidFill>
              <a:latin typeface="+mn-ea"/>
            </a:endParaRPr>
          </a:p>
        </p:txBody>
      </p:sp>
      <p:grpSp>
        <p:nvGrpSpPr>
          <p:cNvPr id="19" name="ïşľïdè"/>
          <p:cNvGrpSpPr/>
          <p:nvPr/>
        </p:nvGrpSpPr>
        <p:grpSpPr>
          <a:xfrm>
            <a:off x="4598627" y="3034099"/>
            <a:ext cx="622300" cy="622300"/>
            <a:chOff x="4849770" y="4185155"/>
            <a:chExt cx="876958" cy="876956"/>
          </a:xfrm>
        </p:grpSpPr>
        <p:sp>
          <p:nvSpPr>
            <p:cNvPr id="20" name="isḷíďê"/>
            <p:cNvSpPr/>
            <p:nvPr/>
          </p:nvSpPr>
          <p:spPr bwMode="auto">
            <a:xfrm>
              <a:off x="4849770" y="4185155"/>
              <a:ext cx="876958" cy="876956"/>
            </a:xfrm>
            <a:prstGeom prst="ellipse">
              <a:avLst/>
            </a:prstGeom>
            <a:solidFill>
              <a:schemeClr val="accent1"/>
            </a:solidFill>
            <a:ln w="28575">
              <a:solidFill>
                <a:schemeClr val="bg1"/>
              </a:solidFill>
            </a:ln>
            <a:effectLst/>
          </p:spPr>
          <p:txBody>
            <a:bodyPr wrap="square" lIns="91440" tIns="45720" rIns="91440" bIns="45720">
              <a:normAutofit fontScale="8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sz="3200"/>
            </a:p>
          </p:txBody>
        </p:sp>
        <p:sp>
          <p:nvSpPr>
            <p:cNvPr id="21" name="îṣlîḍé"/>
            <p:cNvSpPr/>
            <p:nvPr/>
          </p:nvSpPr>
          <p:spPr bwMode="auto">
            <a:xfrm>
              <a:off x="5071137" y="4435624"/>
              <a:ext cx="434232" cy="376038"/>
            </a:xfrm>
            <a:custGeom>
              <a:avLst/>
              <a:gdLst>
                <a:gd name="connsiteX0" fmla="*/ 332825 w 599014"/>
                <a:gd name="connsiteY0" fmla="*/ 323318 h 518742"/>
                <a:gd name="connsiteX1" fmla="*/ 480885 w 599014"/>
                <a:gd name="connsiteY1" fmla="*/ 323318 h 518742"/>
                <a:gd name="connsiteX2" fmla="*/ 508708 w 599014"/>
                <a:gd name="connsiteY2" fmla="*/ 351111 h 518742"/>
                <a:gd name="connsiteX3" fmla="*/ 480885 w 599014"/>
                <a:gd name="connsiteY3" fmla="*/ 378903 h 518742"/>
                <a:gd name="connsiteX4" fmla="*/ 332825 w 599014"/>
                <a:gd name="connsiteY4" fmla="*/ 378903 h 518742"/>
                <a:gd name="connsiteX5" fmla="*/ 305002 w 599014"/>
                <a:gd name="connsiteY5" fmla="*/ 351111 h 518742"/>
                <a:gd name="connsiteX6" fmla="*/ 332825 w 599014"/>
                <a:gd name="connsiteY6" fmla="*/ 323318 h 518742"/>
                <a:gd name="connsiteX7" fmla="*/ 332825 w 599014"/>
                <a:gd name="connsiteY7" fmla="*/ 230145 h 518742"/>
                <a:gd name="connsiteX8" fmla="*/ 480885 w 599014"/>
                <a:gd name="connsiteY8" fmla="*/ 230145 h 518742"/>
                <a:gd name="connsiteX9" fmla="*/ 508708 w 599014"/>
                <a:gd name="connsiteY9" fmla="*/ 257937 h 518742"/>
                <a:gd name="connsiteX10" fmla="*/ 480885 w 599014"/>
                <a:gd name="connsiteY10" fmla="*/ 285730 h 518742"/>
                <a:gd name="connsiteX11" fmla="*/ 332825 w 599014"/>
                <a:gd name="connsiteY11" fmla="*/ 285730 h 518742"/>
                <a:gd name="connsiteX12" fmla="*/ 305002 w 599014"/>
                <a:gd name="connsiteY12" fmla="*/ 257937 h 518742"/>
                <a:gd name="connsiteX13" fmla="*/ 332825 w 599014"/>
                <a:gd name="connsiteY13" fmla="*/ 230145 h 518742"/>
                <a:gd name="connsiteX14" fmla="*/ 24843 w 599014"/>
                <a:gd name="connsiteY14" fmla="*/ 151784 h 518742"/>
                <a:gd name="connsiteX15" fmla="*/ 183839 w 599014"/>
                <a:gd name="connsiteY15" fmla="*/ 151784 h 518742"/>
                <a:gd name="connsiteX16" fmla="*/ 207688 w 599014"/>
                <a:gd name="connsiteY16" fmla="*/ 176583 h 518742"/>
                <a:gd name="connsiteX17" fmla="*/ 207688 w 599014"/>
                <a:gd name="connsiteY17" fmla="*/ 329348 h 518742"/>
                <a:gd name="connsiteX18" fmla="*/ 182845 w 599014"/>
                <a:gd name="connsiteY18" fmla="*/ 354147 h 518742"/>
                <a:gd name="connsiteX19" fmla="*/ 163964 w 599014"/>
                <a:gd name="connsiteY19" fmla="*/ 344227 h 518742"/>
                <a:gd name="connsiteX20" fmla="*/ 155021 w 599014"/>
                <a:gd name="connsiteY20" fmla="*/ 494016 h 518742"/>
                <a:gd name="connsiteX21" fmla="*/ 129184 w 599014"/>
                <a:gd name="connsiteY21" fmla="*/ 516831 h 518742"/>
                <a:gd name="connsiteX22" fmla="*/ 78504 w 599014"/>
                <a:gd name="connsiteY22" fmla="*/ 516831 h 518742"/>
                <a:gd name="connsiteX23" fmla="*/ 53661 w 599014"/>
                <a:gd name="connsiteY23" fmla="*/ 494016 h 518742"/>
                <a:gd name="connsiteX24" fmla="*/ 43724 w 599014"/>
                <a:gd name="connsiteY24" fmla="*/ 345219 h 518742"/>
                <a:gd name="connsiteX25" fmla="*/ 24843 w 599014"/>
                <a:gd name="connsiteY25" fmla="*/ 354147 h 518742"/>
                <a:gd name="connsiteX26" fmla="*/ 994 w 599014"/>
                <a:gd name="connsiteY26" fmla="*/ 329348 h 518742"/>
                <a:gd name="connsiteX27" fmla="*/ 0 w 599014"/>
                <a:gd name="connsiteY27" fmla="*/ 176583 h 518742"/>
                <a:gd name="connsiteX28" fmla="*/ 24843 w 599014"/>
                <a:gd name="connsiteY28" fmla="*/ 151784 h 518742"/>
                <a:gd name="connsiteX29" fmla="*/ 332825 w 599014"/>
                <a:gd name="connsiteY29" fmla="*/ 137928 h 518742"/>
                <a:gd name="connsiteX30" fmla="*/ 480885 w 599014"/>
                <a:gd name="connsiteY30" fmla="*/ 137928 h 518742"/>
                <a:gd name="connsiteX31" fmla="*/ 508708 w 599014"/>
                <a:gd name="connsiteY31" fmla="*/ 165721 h 518742"/>
                <a:gd name="connsiteX32" fmla="*/ 480885 w 599014"/>
                <a:gd name="connsiteY32" fmla="*/ 193513 h 518742"/>
                <a:gd name="connsiteX33" fmla="*/ 332825 w 599014"/>
                <a:gd name="connsiteY33" fmla="*/ 193513 h 518742"/>
                <a:gd name="connsiteX34" fmla="*/ 305002 w 599014"/>
                <a:gd name="connsiteY34" fmla="*/ 165721 h 518742"/>
                <a:gd name="connsiteX35" fmla="*/ 332825 w 599014"/>
                <a:gd name="connsiteY35" fmla="*/ 137928 h 518742"/>
                <a:gd name="connsiteX36" fmla="*/ 347698 w 599014"/>
                <a:gd name="connsiteY36" fmla="*/ 55512 h 518742"/>
                <a:gd name="connsiteX37" fmla="*/ 347698 w 599014"/>
                <a:gd name="connsiteY37" fmla="*/ 61464 h 518742"/>
                <a:gd name="connsiteX38" fmla="*/ 283131 w 599014"/>
                <a:gd name="connsiteY38" fmla="*/ 124947 h 518742"/>
                <a:gd name="connsiteX39" fmla="*/ 276178 w 599014"/>
                <a:gd name="connsiteY39" fmla="*/ 124947 h 518742"/>
                <a:gd name="connsiteX40" fmla="*/ 276178 w 599014"/>
                <a:gd name="connsiteY40" fmla="*/ 456251 h 518742"/>
                <a:gd name="connsiteX41" fmla="*/ 283131 w 599014"/>
                <a:gd name="connsiteY41" fmla="*/ 463194 h 518742"/>
                <a:gd name="connsiteX42" fmla="*/ 536433 w 599014"/>
                <a:gd name="connsiteY42" fmla="*/ 463194 h 518742"/>
                <a:gd name="connsiteX43" fmla="*/ 543387 w 599014"/>
                <a:gd name="connsiteY43" fmla="*/ 456251 h 518742"/>
                <a:gd name="connsiteX44" fmla="*/ 542394 w 599014"/>
                <a:gd name="connsiteY44" fmla="*/ 62455 h 518742"/>
                <a:gd name="connsiteX45" fmla="*/ 536433 w 599014"/>
                <a:gd name="connsiteY45" fmla="*/ 55512 h 518742"/>
                <a:gd name="connsiteX46" fmla="*/ 337765 w 599014"/>
                <a:gd name="connsiteY46" fmla="*/ 956 h 518742"/>
                <a:gd name="connsiteX47" fmla="*/ 537427 w 599014"/>
                <a:gd name="connsiteY47" fmla="*/ 956 h 518742"/>
                <a:gd name="connsiteX48" fmla="*/ 599014 w 599014"/>
                <a:gd name="connsiteY48" fmla="*/ 62455 h 518742"/>
                <a:gd name="connsiteX49" fmla="*/ 599014 w 599014"/>
                <a:gd name="connsiteY49" fmla="*/ 456251 h 518742"/>
                <a:gd name="connsiteX50" fmla="*/ 537427 w 599014"/>
                <a:gd name="connsiteY50" fmla="*/ 518742 h 518742"/>
                <a:gd name="connsiteX51" fmla="*/ 283131 w 599014"/>
                <a:gd name="connsiteY51" fmla="*/ 518742 h 518742"/>
                <a:gd name="connsiteX52" fmla="*/ 221544 w 599014"/>
                <a:gd name="connsiteY52" fmla="*/ 456251 h 518742"/>
                <a:gd name="connsiteX53" fmla="*/ 221544 w 599014"/>
                <a:gd name="connsiteY53" fmla="*/ 117011 h 518742"/>
                <a:gd name="connsiteX54" fmla="*/ 237437 w 599014"/>
                <a:gd name="connsiteY54" fmla="*/ 79318 h 518742"/>
                <a:gd name="connsiteX55" fmla="*/ 298031 w 599014"/>
                <a:gd name="connsiteY55" fmla="*/ 17819 h 518742"/>
                <a:gd name="connsiteX56" fmla="*/ 301011 w 599014"/>
                <a:gd name="connsiteY56" fmla="*/ 15835 h 518742"/>
                <a:gd name="connsiteX57" fmla="*/ 337765 w 599014"/>
                <a:gd name="connsiteY57" fmla="*/ 956 h 518742"/>
                <a:gd name="connsiteX58" fmla="*/ 104322 w 599014"/>
                <a:gd name="connsiteY58" fmla="*/ 0 h 518742"/>
                <a:gd name="connsiteX59" fmla="*/ 171853 w 599014"/>
                <a:gd name="connsiteY59" fmla="*/ 67929 h 518742"/>
                <a:gd name="connsiteX60" fmla="*/ 104322 w 599014"/>
                <a:gd name="connsiteY60" fmla="*/ 135858 h 518742"/>
                <a:gd name="connsiteX61" fmla="*/ 36791 w 599014"/>
                <a:gd name="connsiteY61" fmla="*/ 67929 h 518742"/>
                <a:gd name="connsiteX62" fmla="*/ 104322 w 599014"/>
                <a:gd name="connsiteY62" fmla="*/ 0 h 518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599014" h="518742">
                  <a:moveTo>
                    <a:pt x="332825" y="323318"/>
                  </a:moveTo>
                  <a:lnTo>
                    <a:pt x="480885" y="323318"/>
                  </a:lnTo>
                  <a:cubicBezTo>
                    <a:pt x="495790" y="323318"/>
                    <a:pt x="507714" y="335229"/>
                    <a:pt x="508708" y="351111"/>
                  </a:cubicBezTo>
                  <a:cubicBezTo>
                    <a:pt x="508708" y="365999"/>
                    <a:pt x="495790" y="378903"/>
                    <a:pt x="480885" y="378903"/>
                  </a:cubicBezTo>
                  <a:lnTo>
                    <a:pt x="332825" y="378903"/>
                  </a:lnTo>
                  <a:cubicBezTo>
                    <a:pt x="317920" y="378903"/>
                    <a:pt x="305002" y="365999"/>
                    <a:pt x="305002" y="351111"/>
                  </a:cubicBezTo>
                  <a:cubicBezTo>
                    <a:pt x="305002" y="335229"/>
                    <a:pt x="317920" y="323318"/>
                    <a:pt x="332825" y="323318"/>
                  </a:cubicBezTo>
                  <a:close/>
                  <a:moveTo>
                    <a:pt x="332825" y="230145"/>
                  </a:moveTo>
                  <a:lnTo>
                    <a:pt x="480885" y="230145"/>
                  </a:lnTo>
                  <a:cubicBezTo>
                    <a:pt x="495790" y="230145"/>
                    <a:pt x="508708" y="243049"/>
                    <a:pt x="508708" y="257937"/>
                  </a:cubicBezTo>
                  <a:cubicBezTo>
                    <a:pt x="508708" y="273819"/>
                    <a:pt x="495790" y="285730"/>
                    <a:pt x="480885" y="285730"/>
                  </a:cubicBezTo>
                  <a:lnTo>
                    <a:pt x="332825" y="285730"/>
                  </a:lnTo>
                  <a:cubicBezTo>
                    <a:pt x="317920" y="285730"/>
                    <a:pt x="305002" y="273819"/>
                    <a:pt x="305002" y="257937"/>
                  </a:cubicBezTo>
                  <a:cubicBezTo>
                    <a:pt x="305002" y="243049"/>
                    <a:pt x="317920" y="230145"/>
                    <a:pt x="332825" y="230145"/>
                  </a:cubicBezTo>
                  <a:close/>
                  <a:moveTo>
                    <a:pt x="24843" y="151784"/>
                  </a:moveTo>
                  <a:cubicBezTo>
                    <a:pt x="34780" y="151784"/>
                    <a:pt x="183839" y="151784"/>
                    <a:pt x="183839" y="151784"/>
                  </a:cubicBezTo>
                  <a:cubicBezTo>
                    <a:pt x="196757" y="151784"/>
                    <a:pt x="207688" y="163688"/>
                    <a:pt x="207688" y="176583"/>
                  </a:cubicBezTo>
                  <a:lnTo>
                    <a:pt x="207688" y="329348"/>
                  </a:lnTo>
                  <a:cubicBezTo>
                    <a:pt x="207688" y="342243"/>
                    <a:pt x="196757" y="354147"/>
                    <a:pt x="182845" y="354147"/>
                  </a:cubicBezTo>
                  <a:cubicBezTo>
                    <a:pt x="175889" y="354147"/>
                    <a:pt x="168933" y="350179"/>
                    <a:pt x="163964" y="344227"/>
                  </a:cubicBezTo>
                  <a:lnTo>
                    <a:pt x="155021" y="494016"/>
                  </a:lnTo>
                  <a:cubicBezTo>
                    <a:pt x="154027" y="506911"/>
                    <a:pt x="143096" y="516831"/>
                    <a:pt x="129184" y="516831"/>
                  </a:cubicBezTo>
                  <a:lnTo>
                    <a:pt x="78504" y="516831"/>
                  </a:lnTo>
                  <a:cubicBezTo>
                    <a:pt x="65586" y="516831"/>
                    <a:pt x="54655" y="506911"/>
                    <a:pt x="53661" y="494016"/>
                  </a:cubicBezTo>
                  <a:lnTo>
                    <a:pt x="43724" y="345219"/>
                  </a:lnTo>
                  <a:cubicBezTo>
                    <a:pt x="39749" y="350179"/>
                    <a:pt x="32793" y="354147"/>
                    <a:pt x="24843" y="354147"/>
                  </a:cubicBezTo>
                  <a:cubicBezTo>
                    <a:pt x="11925" y="354147"/>
                    <a:pt x="994" y="343235"/>
                    <a:pt x="994" y="329348"/>
                  </a:cubicBezTo>
                  <a:lnTo>
                    <a:pt x="0" y="176583"/>
                  </a:lnTo>
                  <a:cubicBezTo>
                    <a:pt x="0" y="162696"/>
                    <a:pt x="10931" y="151784"/>
                    <a:pt x="24843" y="151784"/>
                  </a:cubicBezTo>
                  <a:close/>
                  <a:moveTo>
                    <a:pt x="332825" y="137928"/>
                  </a:moveTo>
                  <a:lnTo>
                    <a:pt x="480885" y="137928"/>
                  </a:lnTo>
                  <a:cubicBezTo>
                    <a:pt x="495790" y="137928"/>
                    <a:pt x="508708" y="149839"/>
                    <a:pt x="508708" y="165721"/>
                  </a:cubicBezTo>
                  <a:cubicBezTo>
                    <a:pt x="508708" y="180609"/>
                    <a:pt x="495790" y="193513"/>
                    <a:pt x="480885" y="193513"/>
                  </a:cubicBezTo>
                  <a:lnTo>
                    <a:pt x="332825" y="193513"/>
                  </a:lnTo>
                  <a:cubicBezTo>
                    <a:pt x="317920" y="193513"/>
                    <a:pt x="305002" y="180609"/>
                    <a:pt x="305002" y="165721"/>
                  </a:cubicBezTo>
                  <a:cubicBezTo>
                    <a:pt x="305002" y="149839"/>
                    <a:pt x="317920" y="137928"/>
                    <a:pt x="332825" y="137928"/>
                  </a:cubicBezTo>
                  <a:close/>
                  <a:moveTo>
                    <a:pt x="347698" y="55512"/>
                  </a:moveTo>
                  <a:lnTo>
                    <a:pt x="347698" y="61464"/>
                  </a:lnTo>
                  <a:cubicBezTo>
                    <a:pt x="347698" y="96181"/>
                    <a:pt x="318892" y="124947"/>
                    <a:pt x="283131" y="124947"/>
                  </a:cubicBezTo>
                  <a:lnTo>
                    <a:pt x="276178" y="124947"/>
                  </a:lnTo>
                  <a:lnTo>
                    <a:pt x="276178" y="456251"/>
                  </a:lnTo>
                  <a:cubicBezTo>
                    <a:pt x="276178" y="460218"/>
                    <a:pt x="279158" y="463194"/>
                    <a:pt x="283131" y="463194"/>
                  </a:cubicBezTo>
                  <a:lnTo>
                    <a:pt x="536433" y="463194"/>
                  </a:lnTo>
                  <a:cubicBezTo>
                    <a:pt x="540407" y="463194"/>
                    <a:pt x="543387" y="460218"/>
                    <a:pt x="543387" y="456251"/>
                  </a:cubicBezTo>
                  <a:lnTo>
                    <a:pt x="542394" y="62455"/>
                  </a:lnTo>
                  <a:cubicBezTo>
                    <a:pt x="542394" y="58488"/>
                    <a:pt x="540407" y="55512"/>
                    <a:pt x="536433" y="55512"/>
                  </a:cubicBezTo>
                  <a:close/>
                  <a:moveTo>
                    <a:pt x="337765" y="956"/>
                  </a:moveTo>
                  <a:lnTo>
                    <a:pt x="537427" y="956"/>
                  </a:lnTo>
                  <a:cubicBezTo>
                    <a:pt x="571200" y="956"/>
                    <a:pt x="599014" y="27738"/>
                    <a:pt x="599014" y="62455"/>
                  </a:cubicBezTo>
                  <a:lnTo>
                    <a:pt x="599014" y="456251"/>
                  </a:lnTo>
                  <a:cubicBezTo>
                    <a:pt x="599014" y="489976"/>
                    <a:pt x="571200" y="518742"/>
                    <a:pt x="537427" y="518742"/>
                  </a:cubicBezTo>
                  <a:lnTo>
                    <a:pt x="283131" y="518742"/>
                  </a:lnTo>
                  <a:cubicBezTo>
                    <a:pt x="249358" y="518742"/>
                    <a:pt x="221544" y="489976"/>
                    <a:pt x="221544" y="456251"/>
                  </a:cubicBezTo>
                  <a:lnTo>
                    <a:pt x="221544" y="117011"/>
                  </a:lnTo>
                  <a:cubicBezTo>
                    <a:pt x="221544" y="103125"/>
                    <a:pt x="226511" y="89238"/>
                    <a:pt x="237437" y="79318"/>
                  </a:cubicBezTo>
                  <a:cubicBezTo>
                    <a:pt x="257304" y="58488"/>
                    <a:pt x="278164" y="38649"/>
                    <a:pt x="298031" y="17819"/>
                  </a:cubicBezTo>
                  <a:cubicBezTo>
                    <a:pt x="298031" y="17819"/>
                    <a:pt x="299025" y="16827"/>
                    <a:pt x="301011" y="15835"/>
                  </a:cubicBezTo>
                  <a:cubicBezTo>
                    <a:pt x="310945" y="5916"/>
                    <a:pt x="323858" y="956"/>
                    <a:pt x="337765" y="956"/>
                  </a:cubicBezTo>
                  <a:close/>
                  <a:moveTo>
                    <a:pt x="104322" y="0"/>
                  </a:moveTo>
                  <a:cubicBezTo>
                    <a:pt x="141618" y="0"/>
                    <a:pt x="171853" y="30413"/>
                    <a:pt x="171853" y="67929"/>
                  </a:cubicBezTo>
                  <a:cubicBezTo>
                    <a:pt x="171853" y="105445"/>
                    <a:pt x="141618" y="135858"/>
                    <a:pt x="104322" y="135858"/>
                  </a:cubicBezTo>
                  <a:cubicBezTo>
                    <a:pt x="67026" y="135858"/>
                    <a:pt x="36791" y="105445"/>
                    <a:pt x="36791" y="67929"/>
                  </a:cubicBezTo>
                  <a:cubicBezTo>
                    <a:pt x="36791" y="30413"/>
                    <a:pt x="67026" y="0"/>
                    <a:pt x="104322" y="0"/>
                  </a:cubicBezTo>
                  <a:close/>
                </a:path>
              </a:pathLst>
            </a:custGeom>
            <a:solidFill>
              <a:schemeClr val="bg1"/>
            </a:solidFill>
            <a:ln>
              <a:noFill/>
            </a:ln>
          </p:spPr>
          <p:txBody>
            <a:bodyPr wrap="square" lIns="91440" tIns="45720" rIns="91440" bIns="45720">
              <a:normAutofit fontScale="775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sp>
        <p:nvSpPr>
          <p:cNvPr id="22" name="îSļíḋé"/>
          <p:cNvSpPr txBox="1"/>
          <p:nvPr/>
        </p:nvSpPr>
        <p:spPr>
          <a:xfrm>
            <a:off x="5231173" y="4624937"/>
            <a:ext cx="6297452" cy="1615526"/>
          </a:xfrm>
          <a:prstGeom prst="rect">
            <a:avLst/>
          </a:prstGeom>
          <a:noFill/>
          <a:ln>
            <a:noFill/>
          </a:ln>
        </p:spPr>
        <p:txBody>
          <a:bodyPr wrap="square" lIns="91440" tIns="45720" rIns="91440" bIns="45720" anchor="t" anchorCtr="0">
            <a:normAutofit fontScale="92500" lnSpcReduction="20000"/>
          </a:bodyPr>
          <a:lstStyle>
            <a:defPPr>
              <a:defRPr lang="zh-CN"/>
            </a:defPPr>
            <a:lvl1pPr marL="171450" indent="-171450">
              <a:lnSpc>
                <a:spcPct val="160000"/>
              </a:lnSpc>
              <a:buFont typeface="Arial" charset="0"/>
              <a:buChar char="•"/>
              <a:defRPr sz="1100"/>
            </a:lvl1pPr>
          </a:lstStyle>
          <a:p>
            <a:pPr marL="0" lvl="0" indent="0">
              <a:lnSpc>
                <a:spcPct val="100000"/>
              </a:lnSpc>
              <a:buClr>
                <a:schemeClr val="tx1"/>
              </a:buClr>
              <a:buSzPct val="150000"/>
              <a:buNone/>
              <a:defRPr/>
            </a:pPr>
            <a:endParaRPr lang="fr-FR" altLang="zh-CN" sz="1400" b="1" dirty="0" smtClean="0">
              <a:solidFill>
                <a:srgbClr val="FF0000"/>
              </a:solidFill>
              <a:latin typeface="+mn-ea"/>
            </a:endParaRPr>
          </a:p>
          <a:p>
            <a:pPr marL="0" lvl="0" indent="0">
              <a:lnSpc>
                <a:spcPct val="100000"/>
              </a:lnSpc>
              <a:buClr>
                <a:schemeClr val="tx1"/>
              </a:buClr>
              <a:buSzPct val="150000"/>
              <a:buNone/>
              <a:defRPr/>
            </a:pPr>
            <a:r>
              <a:rPr lang="fr-FR" altLang="zh-CN" sz="1400" b="1" dirty="0">
                <a:solidFill>
                  <a:srgbClr val="FF0000"/>
                </a:solidFill>
                <a:latin typeface="+mn-ea"/>
              </a:rPr>
              <a:t>Technologie réalisée à la discrétion de l'établissement médical</a:t>
            </a:r>
          </a:p>
          <a:p>
            <a:pPr marL="0" lvl="0" indent="0">
              <a:lnSpc>
                <a:spcPct val="100000"/>
              </a:lnSpc>
              <a:buClr>
                <a:schemeClr val="tx1"/>
              </a:buClr>
              <a:buSzPct val="150000"/>
              <a:buNone/>
              <a:defRPr/>
            </a:pPr>
            <a:endParaRPr lang="fr-FR" altLang="zh-CN" sz="1400" b="1" dirty="0">
              <a:solidFill>
                <a:srgbClr val="FF0000"/>
              </a:solidFill>
              <a:latin typeface="+mn-ea"/>
            </a:endParaRPr>
          </a:p>
          <a:p>
            <a:pPr marL="0" lvl="0" indent="0">
              <a:lnSpc>
                <a:spcPct val="100000"/>
              </a:lnSpc>
              <a:buClr>
                <a:schemeClr val="tx1"/>
              </a:buClr>
              <a:buSzPct val="150000"/>
              <a:buNone/>
              <a:defRPr/>
            </a:pPr>
            <a:r>
              <a:rPr lang="fr-FR" altLang="zh-CN" sz="1400" b="1" dirty="0">
                <a:solidFill>
                  <a:srgbClr val="FF0000"/>
                </a:solidFill>
                <a:latin typeface="+mn-ea"/>
              </a:rPr>
              <a:t>Se réfère principalement à la technologie médicale qui n'est pas incluse dans le catalogue des technologies interdites et des technologies restreintes. Les institutions médicales peuvent décider de réaliser des applications cliniques en fonction de leurs propres fonctions, tâches et capacités techniques. Les nouvelles technologies qui tombent dans cette situation peuvent être lancées seules sans classement.</a:t>
            </a:r>
            <a:endParaRPr lang="zh-CN" altLang="en-US" sz="1400" b="1" dirty="0">
              <a:solidFill>
                <a:srgbClr val="FF0000"/>
              </a:solidFill>
              <a:latin typeface="+mn-ea"/>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fr-FR" altLang="zh-CN" dirty="0" smtClean="0"/>
              <a:t>Processus </a:t>
            </a:r>
            <a:r>
              <a:rPr lang="fr-FR" altLang="zh-CN" dirty="0"/>
              <a:t>principal</a:t>
            </a:r>
            <a:endParaRPr lang="zh-CN" altLang="en-US" dirty="0"/>
          </a:p>
        </p:txBody>
      </p:sp>
      <p:sp>
        <p:nvSpPr>
          <p:cNvPr id="4" name="灯片编号占位符 3"/>
          <p:cNvSpPr>
            <a:spLocks noGrp="1"/>
          </p:cNvSpPr>
          <p:nvPr>
            <p:ph type="sldNum" sz="quarter" idx="12"/>
          </p:nvPr>
        </p:nvSpPr>
        <p:spPr/>
        <p:txBody>
          <a:bodyPr/>
          <a:lstStyle/>
          <a:p>
            <a:fld id="{5DD3DB80-B894-403A-B48E-6FDC1A72010E}" type="slidenum">
              <a:rPr lang="zh-CN" altLang="en-US" smtClean="0"/>
              <a:t>9</a:t>
            </a:fld>
            <a:endParaRPr lang="zh-CN" altLang="en-US"/>
          </a:p>
        </p:txBody>
      </p:sp>
      <p:sp>
        <p:nvSpPr>
          <p:cNvPr id="6" name="íṣlïḓe"/>
          <p:cNvSpPr/>
          <p:nvPr/>
        </p:nvSpPr>
        <p:spPr>
          <a:xfrm>
            <a:off x="0" y="1130300"/>
            <a:ext cx="4914900" cy="1809749"/>
          </a:xfrm>
          <a:prstGeom prst="rect">
            <a:avLst/>
          </a:prstGeom>
          <a:blipFill>
            <a:blip r:embed="rId3"/>
            <a:srcRect/>
            <a:stretch>
              <a:fillRect t="-40812" b="-40241"/>
            </a:stretch>
          </a:blipFill>
          <a:ln w="19050">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lang="zh-CN" altLang="en-US"/>
          </a:p>
        </p:txBody>
      </p:sp>
      <p:sp>
        <p:nvSpPr>
          <p:cNvPr id="8" name="isļîďé"/>
          <p:cNvSpPr txBox="1"/>
          <p:nvPr/>
        </p:nvSpPr>
        <p:spPr>
          <a:xfrm>
            <a:off x="220727" y="3035299"/>
            <a:ext cx="4540110" cy="1181101"/>
          </a:xfrm>
          <a:prstGeom prst="rect">
            <a:avLst/>
          </a:prstGeom>
          <a:noFill/>
          <a:ln>
            <a:noFill/>
          </a:ln>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buSzPct val="25000"/>
            </a:pPr>
            <a:r>
              <a:rPr lang="fr-FR" altLang="zh-CN" sz="2400" b="1" dirty="0"/>
              <a:t>Technologie </a:t>
            </a:r>
            <a:r>
              <a:rPr lang="fr-FR" altLang="zh-CN" sz="2400" b="1" dirty="0" smtClean="0"/>
              <a:t>restreinte</a:t>
            </a:r>
            <a:endParaRPr lang="fr-FR" altLang="zh-CN" sz="2400" b="1" dirty="0" smtClean="0"/>
          </a:p>
        </p:txBody>
      </p:sp>
      <p:sp>
        <p:nvSpPr>
          <p:cNvPr id="9" name="îSļíḋé"/>
          <p:cNvSpPr txBox="1"/>
          <p:nvPr/>
        </p:nvSpPr>
        <p:spPr>
          <a:xfrm>
            <a:off x="5223035" y="1130300"/>
            <a:ext cx="6297452" cy="5316543"/>
          </a:xfrm>
          <a:prstGeom prst="rect">
            <a:avLst/>
          </a:prstGeom>
          <a:noFill/>
          <a:ln>
            <a:noFill/>
          </a:ln>
        </p:spPr>
        <p:txBody>
          <a:bodyPr wrap="square" lIns="91440" tIns="45720" rIns="91440" bIns="45720" anchor="t" anchorCtr="0">
            <a:normAutofit fontScale="85000" lnSpcReduction="20000"/>
          </a:bodyPr>
          <a:lstStyle>
            <a:defPPr>
              <a:defRPr lang="zh-CN"/>
            </a:defPPr>
            <a:lvl1pPr marL="171450" indent="-171450">
              <a:lnSpc>
                <a:spcPct val="160000"/>
              </a:lnSpc>
              <a:buFont typeface="Arial" charset="0"/>
              <a:buChar char="•"/>
              <a:defRPr sz="1100"/>
            </a:lvl1pPr>
          </a:lstStyle>
          <a:p>
            <a:pPr marL="0" lvl="0" indent="0">
              <a:lnSpc>
                <a:spcPct val="150000"/>
              </a:lnSpc>
              <a:buClr>
                <a:schemeClr val="tx1"/>
              </a:buClr>
              <a:buSzPct val="150000"/>
              <a:buNone/>
              <a:defRPr/>
            </a:pPr>
            <a:endParaRPr lang="fr-FR" altLang="zh-CN" sz="1800" dirty="0" smtClean="0">
              <a:latin typeface="+mn-ea"/>
            </a:endParaRPr>
          </a:p>
          <a:p>
            <a:pPr marL="0" lvl="0" indent="0">
              <a:lnSpc>
                <a:spcPct val="150000"/>
              </a:lnSpc>
              <a:buClr>
                <a:schemeClr val="tx1"/>
              </a:buClr>
              <a:buSzPct val="150000"/>
              <a:buNone/>
              <a:defRPr/>
            </a:pPr>
            <a:r>
              <a:rPr lang="fr-FR" altLang="zh-CN" sz="1800" dirty="0">
                <a:latin typeface="+mn-ea"/>
              </a:rPr>
              <a:t>Si la technologie est évaluée comme une technologie restreinte</a:t>
            </a:r>
          </a:p>
          <a:p>
            <a:pPr marL="0" lvl="0" indent="0">
              <a:lnSpc>
                <a:spcPct val="150000"/>
              </a:lnSpc>
              <a:buClr>
                <a:schemeClr val="tx1"/>
              </a:buClr>
              <a:buSzPct val="150000"/>
              <a:buNone/>
              <a:defRPr/>
            </a:pPr>
            <a:endParaRPr lang="fr-FR" altLang="zh-CN" sz="1800" dirty="0">
              <a:latin typeface="+mn-ea"/>
            </a:endParaRPr>
          </a:p>
          <a:p>
            <a:pPr marL="0" lvl="0" indent="0">
              <a:lnSpc>
                <a:spcPct val="150000"/>
              </a:lnSpc>
              <a:buClr>
                <a:schemeClr val="tx1"/>
              </a:buClr>
              <a:buSzPct val="150000"/>
              <a:buNone/>
              <a:defRPr/>
            </a:pPr>
            <a:r>
              <a:rPr lang="fr-FR" altLang="zh-CN" sz="1800" dirty="0">
                <a:latin typeface="+mn-ea"/>
              </a:rPr>
              <a:t>L'organisation d'évaluation tierce organise et formule la norme de gestion (ou condition de dépôt) de la nouvelle technologie d'application clinique, et la Commission de la santé municipale publie la norme de gestion (ou condition de dépôt) de la nouvelle technologie d'application clinique sur le site Web du </a:t>
            </a:r>
            <a:r>
              <a:rPr lang="fr-FR" altLang="zh-CN" sz="1800" dirty="0" err="1">
                <a:latin typeface="+mn-ea"/>
              </a:rPr>
              <a:t>OneNet</a:t>
            </a:r>
            <a:r>
              <a:rPr lang="fr-FR" altLang="zh-CN" sz="1800" dirty="0">
                <a:latin typeface="+mn-ea"/>
              </a:rPr>
              <a:t> de la ville.</a:t>
            </a:r>
          </a:p>
          <a:p>
            <a:pPr marL="0" lvl="0" indent="0">
              <a:lnSpc>
                <a:spcPct val="150000"/>
              </a:lnSpc>
              <a:buClr>
                <a:schemeClr val="tx1"/>
              </a:buClr>
              <a:buSzPct val="150000"/>
              <a:buNone/>
              <a:defRPr/>
            </a:pPr>
            <a:endParaRPr lang="fr-FR" altLang="zh-CN" sz="1800" dirty="0">
              <a:latin typeface="+mn-ea"/>
            </a:endParaRPr>
          </a:p>
          <a:p>
            <a:pPr marL="0" lvl="0" indent="0">
              <a:lnSpc>
                <a:spcPct val="150000"/>
              </a:lnSpc>
              <a:buClr>
                <a:schemeClr val="tx1"/>
              </a:buClr>
              <a:buSzPct val="150000"/>
              <a:buNone/>
              <a:defRPr/>
            </a:pPr>
            <a:r>
              <a:rPr lang="fr-FR" altLang="zh-CN" sz="1800" dirty="0">
                <a:latin typeface="+mn-ea"/>
              </a:rPr>
              <a:t>L'institution médicale sollicitant une évaluation doit déposer un dossier conformément aux normes techniques de gestion (ou conditions de dépôt).</a:t>
            </a:r>
          </a:p>
          <a:p>
            <a:pPr marL="0" lvl="0" indent="0">
              <a:lnSpc>
                <a:spcPct val="150000"/>
              </a:lnSpc>
              <a:buClr>
                <a:schemeClr val="tx1"/>
              </a:buClr>
              <a:buSzPct val="150000"/>
              <a:buNone/>
              <a:defRPr/>
            </a:pPr>
            <a:endParaRPr lang="fr-FR" altLang="zh-CN" sz="1800" dirty="0">
              <a:latin typeface="+mn-ea"/>
            </a:endParaRPr>
          </a:p>
          <a:p>
            <a:pPr marL="0" lvl="0" indent="0">
              <a:lnSpc>
                <a:spcPct val="150000"/>
              </a:lnSpc>
              <a:buClr>
                <a:schemeClr val="tx1"/>
              </a:buClr>
              <a:buSzPct val="150000"/>
              <a:buNone/>
              <a:defRPr/>
            </a:pPr>
            <a:r>
              <a:rPr lang="fr-FR" altLang="zh-CN" sz="1800" dirty="0">
                <a:latin typeface="+mn-ea"/>
              </a:rPr>
              <a:t>Si d'autres institutions médicales prévoient de suivre l'application clinique de la nouvelle technologie, elles déposeront également un dossier conformément au règlement.</a:t>
            </a:r>
            <a:endParaRPr lang="zh-CN" altLang="en-US" sz="1800" dirty="0">
              <a:latin typeface="+mn-ea"/>
            </a:endParaRPr>
          </a:p>
        </p:txBody>
      </p:sp>
      <p:cxnSp>
        <p:nvCxnSpPr>
          <p:cNvPr id="10" name="直接连接符 9"/>
          <p:cNvCxnSpPr>
            <a:stCxn id="12" idx="4"/>
          </p:cNvCxnSpPr>
          <p:nvPr/>
        </p:nvCxnSpPr>
        <p:spPr>
          <a:xfrm>
            <a:off x="4914900" y="2346324"/>
            <a:ext cx="0" cy="3292476"/>
          </a:xfrm>
          <a:prstGeom prst="line">
            <a:avLst/>
          </a:prstGeom>
          <a:ln w="3175" cap="rnd">
            <a:solidFill>
              <a:schemeClr val="bg1">
                <a:lumMod val="75000"/>
              </a:schemeClr>
            </a:solidFill>
            <a:round/>
            <a:tailEnd type="oval"/>
          </a:ln>
        </p:spPr>
        <p:style>
          <a:lnRef idx="1">
            <a:schemeClr val="accent1"/>
          </a:lnRef>
          <a:fillRef idx="0">
            <a:schemeClr val="accent1"/>
          </a:fillRef>
          <a:effectRef idx="0">
            <a:schemeClr val="accent1"/>
          </a:effectRef>
          <a:fontRef idx="minor">
            <a:schemeClr val="tx1"/>
          </a:fontRef>
        </p:style>
      </p:cxnSp>
      <p:grpSp>
        <p:nvGrpSpPr>
          <p:cNvPr id="11" name="ïşľïdè"/>
          <p:cNvGrpSpPr/>
          <p:nvPr/>
        </p:nvGrpSpPr>
        <p:grpSpPr>
          <a:xfrm>
            <a:off x="4603750" y="1724024"/>
            <a:ext cx="622300" cy="622300"/>
            <a:chOff x="4849770" y="4185155"/>
            <a:chExt cx="876958" cy="876956"/>
          </a:xfrm>
        </p:grpSpPr>
        <p:sp>
          <p:nvSpPr>
            <p:cNvPr id="12" name="isḷíďê"/>
            <p:cNvSpPr/>
            <p:nvPr/>
          </p:nvSpPr>
          <p:spPr bwMode="auto">
            <a:xfrm>
              <a:off x="4849770" y="4185155"/>
              <a:ext cx="876958" cy="876956"/>
            </a:xfrm>
            <a:prstGeom prst="ellipse">
              <a:avLst/>
            </a:prstGeom>
            <a:solidFill>
              <a:schemeClr val="accent1"/>
            </a:solidFill>
            <a:ln w="28575">
              <a:solidFill>
                <a:schemeClr val="bg1"/>
              </a:solidFill>
            </a:ln>
            <a:effectLst/>
          </p:spPr>
          <p:txBody>
            <a:bodyPr wrap="square" lIns="91440" tIns="45720" rIns="91440" bIns="45720">
              <a:normAutofit fontScale="8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sz="3200"/>
            </a:p>
          </p:txBody>
        </p:sp>
        <p:sp>
          <p:nvSpPr>
            <p:cNvPr id="13" name="îṣlîḍé"/>
            <p:cNvSpPr/>
            <p:nvPr/>
          </p:nvSpPr>
          <p:spPr bwMode="auto">
            <a:xfrm>
              <a:off x="5071137" y="4435624"/>
              <a:ext cx="434232" cy="376038"/>
            </a:xfrm>
            <a:custGeom>
              <a:avLst/>
              <a:gdLst>
                <a:gd name="connsiteX0" fmla="*/ 332825 w 599014"/>
                <a:gd name="connsiteY0" fmla="*/ 323318 h 518742"/>
                <a:gd name="connsiteX1" fmla="*/ 480885 w 599014"/>
                <a:gd name="connsiteY1" fmla="*/ 323318 h 518742"/>
                <a:gd name="connsiteX2" fmla="*/ 508708 w 599014"/>
                <a:gd name="connsiteY2" fmla="*/ 351111 h 518742"/>
                <a:gd name="connsiteX3" fmla="*/ 480885 w 599014"/>
                <a:gd name="connsiteY3" fmla="*/ 378903 h 518742"/>
                <a:gd name="connsiteX4" fmla="*/ 332825 w 599014"/>
                <a:gd name="connsiteY4" fmla="*/ 378903 h 518742"/>
                <a:gd name="connsiteX5" fmla="*/ 305002 w 599014"/>
                <a:gd name="connsiteY5" fmla="*/ 351111 h 518742"/>
                <a:gd name="connsiteX6" fmla="*/ 332825 w 599014"/>
                <a:gd name="connsiteY6" fmla="*/ 323318 h 518742"/>
                <a:gd name="connsiteX7" fmla="*/ 332825 w 599014"/>
                <a:gd name="connsiteY7" fmla="*/ 230145 h 518742"/>
                <a:gd name="connsiteX8" fmla="*/ 480885 w 599014"/>
                <a:gd name="connsiteY8" fmla="*/ 230145 h 518742"/>
                <a:gd name="connsiteX9" fmla="*/ 508708 w 599014"/>
                <a:gd name="connsiteY9" fmla="*/ 257937 h 518742"/>
                <a:gd name="connsiteX10" fmla="*/ 480885 w 599014"/>
                <a:gd name="connsiteY10" fmla="*/ 285730 h 518742"/>
                <a:gd name="connsiteX11" fmla="*/ 332825 w 599014"/>
                <a:gd name="connsiteY11" fmla="*/ 285730 h 518742"/>
                <a:gd name="connsiteX12" fmla="*/ 305002 w 599014"/>
                <a:gd name="connsiteY12" fmla="*/ 257937 h 518742"/>
                <a:gd name="connsiteX13" fmla="*/ 332825 w 599014"/>
                <a:gd name="connsiteY13" fmla="*/ 230145 h 518742"/>
                <a:gd name="connsiteX14" fmla="*/ 24843 w 599014"/>
                <a:gd name="connsiteY14" fmla="*/ 151784 h 518742"/>
                <a:gd name="connsiteX15" fmla="*/ 183839 w 599014"/>
                <a:gd name="connsiteY15" fmla="*/ 151784 h 518742"/>
                <a:gd name="connsiteX16" fmla="*/ 207688 w 599014"/>
                <a:gd name="connsiteY16" fmla="*/ 176583 h 518742"/>
                <a:gd name="connsiteX17" fmla="*/ 207688 w 599014"/>
                <a:gd name="connsiteY17" fmla="*/ 329348 h 518742"/>
                <a:gd name="connsiteX18" fmla="*/ 182845 w 599014"/>
                <a:gd name="connsiteY18" fmla="*/ 354147 h 518742"/>
                <a:gd name="connsiteX19" fmla="*/ 163964 w 599014"/>
                <a:gd name="connsiteY19" fmla="*/ 344227 h 518742"/>
                <a:gd name="connsiteX20" fmla="*/ 155021 w 599014"/>
                <a:gd name="connsiteY20" fmla="*/ 494016 h 518742"/>
                <a:gd name="connsiteX21" fmla="*/ 129184 w 599014"/>
                <a:gd name="connsiteY21" fmla="*/ 516831 h 518742"/>
                <a:gd name="connsiteX22" fmla="*/ 78504 w 599014"/>
                <a:gd name="connsiteY22" fmla="*/ 516831 h 518742"/>
                <a:gd name="connsiteX23" fmla="*/ 53661 w 599014"/>
                <a:gd name="connsiteY23" fmla="*/ 494016 h 518742"/>
                <a:gd name="connsiteX24" fmla="*/ 43724 w 599014"/>
                <a:gd name="connsiteY24" fmla="*/ 345219 h 518742"/>
                <a:gd name="connsiteX25" fmla="*/ 24843 w 599014"/>
                <a:gd name="connsiteY25" fmla="*/ 354147 h 518742"/>
                <a:gd name="connsiteX26" fmla="*/ 994 w 599014"/>
                <a:gd name="connsiteY26" fmla="*/ 329348 h 518742"/>
                <a:gd name="connsiteX27" fmla="*/ 0 w 599014"/>
                <a:gd name="connsiteY27" fmla="*/ 176583 h 518742"/>
                <a:gd name="connsiteX28" fmla="*/ 24843 w 599014"/>
                <a:gd name="connsiteY28" fmla="*/ 151784 h 518742"/>
                <a:gd name="connsiteX29" fmla="*/ 332825 w 599014"/>
                <a:gd name="connsiteY29" fmla="*/ 137928 h 518742"/>
                <a:gd name="connsiteX30" fmla="*/ 480885 w 599014"/>
                <a:gd name="connsiteY30" fmla="*/ 137928 h 518742"/>
                <a:gd name="connsiteX31" fmla="*/ 508708 w 599014"/>
                <a:gd name="connsiteY31" fmla="*/ 165721 h 518742"/>
                <a:gd name="connsiteX32" fmla="*/ 480885 w 599014"/>
                <a:gd name="connsiteY32" fmla="*/ 193513 h 518742"/>
                <a:gd name="connsiteX33" fmla="*/ 332825 w 599014"/>
                <a:gd name="connsiteY33" fmla="*/ 193513 h 518742"/>
                <a:gd name="connsiteX34" fmla="*/ 305002 w 599014"/>
                <a:gd name="connsiteY34" fmla="*/ 165721 h 518742"/>
                <a:gd name="connsiteX35" fmla="*/ 332825 w 599014"/>
                <a:gd name="connsiteY35" fmla="*/ 137928 h 518742"/>
                <a:gd name="connsiteX36" fmla="*/ 347698 w 599014"/>
                <a:gd name="connsiteY36" fmla="*/ 55512 h 518742"/>
                <a:gd name="connsiteX37" fmla="*/ 347698 w 599014"/>
                <a:gd name="connsiteY37" fmla="*/ 61464 h 518742"/>
                <a:gd name="connsiteX38" fmla="*/ 283131 w 599014"/>
                <a:gd name="connsiteY38" fmla="*/ 124947 h 518742"/>
                <a:gd name="connsiteX39" fmla="*/ 276178 w 599014"/>
                <a:gd name="connsiteY39" fmla="*/ 124947 h 518742"/>
                <a:gd name="connsiteX40" fmla="*/ 276178 w 599014"/>
                <a:gd name="connsiteY40" fmla="*/ 456251 h 518742"/>
                <a:gd name="connsiteX41" fmla="*/ 283131 w 599014"/>
                <a:gd name="connsiteY41" fmla="*/ 463194 h 518742"/>
                <a:gd name="connsiteX42" fmla="*/ 536433 w 599014"/>
                <a:gd name="connsiteY42" fmla="*/ 463194 h 518742"/>
                <a:gd name="connsiteX43" fmla="*/ 543387 w 599014"/>
                <a:gd name="connsiteY43" fmla="*/ 456251 h 518742"/>
                <a:gd name="connsiteX44" fmla="*/ 542394 w 599014"/>
                <a:gd name="connsiteY44" fmla="*/ 62455 h 518742"/>
                <a:gd name="connsiteX45" fmla="*/ 536433 w 599014"/>
                <a:gd name="connsiteY45" fmla="*/ 55512 h 518742"/>
                <a:gd name="connsiteX46" fmla="*/ 337765 w 599014"/>
                <a:gd name="connsiteY46" fmla="*/ 956 h 518742"/>
                <a:gd name="connsiteX47" fmla="*/ 537427 w 599014"/>
                <a:gd name="connsiteY47" fmla="*/ 956 h 518742"/>
                <a:gd name="connsiteX48" fmla="*/ 599014 w 599014"/>
                <a:gd name="connsiteY48" fmla="*/ 62455 h 518742"/>
                <a:gd name="connsiteX49" fmla="*/ 599014 w 599014"/>
                <a:gd name="connsiteY49" fmla="*/ 456251 h 518742"/>
                <a:gd name="connsiteX50" fmla="*/ 537427 w 599014"/>
                <a:gd name="connsiteY50" fmla="*/ 518742 h 518742"/>
                <a:gd name="connsiteX51" fmla="*/ 283131 w 599014"/>
                <a:gd name="connsiteY51" fmla="*/ 518742 h 518742"/>
                <a:gd name="connsiteX52" fmla="*/ 221544 w 599014"/>
                <a:gd name="connsiteY52" fmla="*/ 456251 h 518742"/>
                <a:gd name="connsiteX53" fmla="*/ 221544 w 599014"/>
                <a:gd name="connsiteY53" fmla="*/ 117011 h 518742"/>
                <a:gd name="connsiteX54" fmla="*/ 237437 w 599014"/>
                <a:gd name="connsiteY54" fmla="*/ 79318 h 518742"/>
                <a:gd name="connsiteX55" fmla="*/ 298031 w 599014"/>
                <a:gd name="connsiteY55" fmla="*/ 17819 h 518742"/>
                <a:gd name="connsiteX56" fmla="*/ 301011 w 599014"/>
                <a:gd name="connsiteY56" fmla="*/ 15835 h 518742"/>
                <a:gd name="connsiteX57" fmla="*/ 337765 w 599014"/>
                <a:gd name="connsiteY57" fmla="*/ 956 h 518742"/>
                <a:gd name="connsiteX58" fmla="*/ 104322 w 599014"/>
                <a:gd name="connsiteY58" fmla="*/ 0 h 518742"/>
                <a:gd name="connsiteX59" fmla="*/ 171853 w 599014"/>
                <a:gd name="connsiteY59" fmla="*/ 67929 h 518742"/>
                <a:gd name="connsiteX60" fmla="*/ 104322 w 599014"/>
                <a:gd name="connsiteY60" fmla="*/ 135858 h 518742"/>
                <a:gd name="connsiteX61" fmla="*/ 36791 w 599014"/>
                <a:gd name="connsiteY61" fmla="*/ 67929 h 518742"/>
                <a:gd name="connsiteX62" fmla="*/ 104322 w 599014"/>
                <a:gd name="connsiteY62" fmla="*/ 0 h 518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599014" h="518742">
                  <a:moveTo>
                    <a:pt x="332825" y="323318"/>
                  </a:moveTo>
                  <a:lnTo>
                    <a:pt x="480885" y="323318"/>
                  </a:lnTo>
                  <a:cubicBezTo>
                    <a:pt x="495790" y="323318"/>
                    <a:pt x="507714" y="335229"/>
                    <a:pt x="508708" y="351111"/>
                  </a:cubicBezTo>
                  <a:cubicBezTo>
                    <a:pt x="508708" y="365999"/>
                    <a:pt x="495790" y="378903"/>
                    <a:pt x="480885" y="378903"/>
                  </a:cubicBezTo>
                  <a:lnTo>
                    <a:pt x="332825" y="378903"/>
                  </a:lnTo>
                  <a:cubicBezTo>
                    <a:pt x="317920" y="378903"/>
                    <a:pt x="305002" y="365999"/>
                    <a:pt x="305002" y="351111"/>
                  </a:cubicBezTo>
                  <a:cubicBezTo>
                    <a:pt x="305002" y="335229"/>
                    <a:pt x="317920" y="323318"/>
                    <a:pt x="332825" y="323318"/>
                  </a:cubicBezTo>
                  <a:close/>
                  <a:moveTo>
                    <a:pt x="332825" y="230145"/>
                  </a:moveTo>
                  <a:lnTo>
                    <a:pt x="480885" y="230145"/>
                  </a:lnTo>
                  <a:cubicBezTo>
                    <a:pt x="495790" y="230145"/>
                    <a:pt x="508708" y="243049"/>
                    <a:pt x="508708" y="257937"/>
                  </a:cubicBezTo>
                  <a:cubicBezTo>
                    <a:pt x="508708" y="273819"/>
                    <a:pt x="495790" y="285730"/>
                    <a:pt x="480885" y="285730"/>
                  </a:cubicBezTo>
                  <a:lnTo>
                    <a:pt x="332825" y="285730"/>
                  </a:lnTo>
                  <a:cubicBezTo>
                    <a:pt x="317920" y="285730"/>
                    <a:pt x="305002" y="273819"/>
                    <a:pt x="305002" y="257937"/>
                  </a:cubicBezTo>
                  <a:cubicBezTo>
                    <a:pt x="305002" y="243049"/>
                    <a:pt x="317920" y="230145"/>
                    <a:pt x="332825" y="230145"/>
                  </a:cubicBezTo>
                  <a:close/>
                  <a:moveTo>
                    <a:pt x="24843" y="151784"/>
                  </a:moveTo>
                  <a:cubicBezTo>
                    <a:pt x="34780" y="151784"/>
                    <a:pt x="183839" y="151784"/>
                    <a:pt x="183839" y="151784"/>
                  </a:cubicBezTo>
                  <a:cubicBezTo>
                    <a:pt x="196757" y="151784"/>
                    <a:pt x="207688" y="163688"/>
                    <a:pt x="207688" y="176583"/>
                  </a:cubicBezTo>
                  <a:lnTo>
                    <a:pt x="207688" y="329348"/>
                  </a:lnTo>
                  <a:cubicBezTo>
                    <a:pt x="207688" y="342243"/>
                    <a:pt x="196757" y="354147"/>
                    <a:pt x="182845" y="354147"/>
                  </a:cubicBezTo>
                  <a:cubicBezTo>
                    <a:pt x="175889" y="354147"/>
                    <a:pt x="168933" y="350179"/>
                    <a:pt x="163964" y="344227"/>
                  </a:cubicBezTo>
                  <a:lnTo>
                    <a:pt x="155021" y="494016"/>
                  </a:lnTo>
                  <a:cubicBezTo>
                    <a:pt x="154027" y="506911"/>
                    <a:pt x="143096" y="516831"/>
                    <a:pt x="129184" y="516831"/>
                  </a:cubicBezTo>
                  <a:lnTo>
                    <a:pt x="78504" y="516831"/>
                  </a:lnTo>
                  <a:cubicBezTo>
                    <a:pt x="65586" y="516831"/>
                    <a:pt x="54655" y="506911"/>
                    <a:pt x="53661" y="494016"/>
                  </a:cubicBezTo>
                  <a:lnTo>
                    <a:pt x="43724" y="345219"/>
                  </a:lnTo>
                  <a:cubicBezTo>
                    <a:pt x="39749" y="350179"/>
                    <a:pt x="32793" y="354147"/>
                    <a:pt x="24843" y="354147"/>
                  </a:cubicBezTo>
                  <a:cubicBezTo>
                    <a:pt x="11925" y="354147"/>
                    <a:pt x="994" y="343235"/>
                    <a:pt x="994" y="329348"/>
                  </a:cubicBezTo>
                  <a:lnTo>
                    <a:pt x="0" y="176583"/>
                  </a:lnTo>
                  <a:cubicBezTo>
                    <a:pt x="0" y="162696"/>
                    <a:pt x="10931" y="151784"/>
                    <a:pt x="24843" y="151784"/>
                  </a:cubicBezTo>
                  <a:close/>
                  <a:moveTo>
                    <a:pt x="332825" y="137928"/>
                  </a:moveTo>
                  <a:lnTo>
                    <a:pt x="480885" y="137928"/>
                  </a:lnTo>
                  <a:cubicBezTo>
                    <a:pt x="495790" y="137928"/>
                    <a:pt x="508708" y="149839"/>
                    <a:pt x="508708" y="165721"/>
                  </a:cubicBezTo>
                  <a:cubicBezTo>
                    <a:pt x="508708" y="180609"/>
                    <a:pt x="495790" y="193513"/>
                    <a:pt x="480885" y="193513"/>
                  </a:cubicBezTo>
                  <a:lnTo>
                    <a:pt x="332825" y="193513"/>
                  </a:lnTo>
                  <a:cubicBezTo>
                    <a:pt x="317920" y="193513"/>
                    <a:pt x="305002" y="180609"/>
                    <a:pt x="305002" y="165721"/>
                  </a:cubicBezTo>
                  <a:cubicBezTo>
                    <a:pt x="305002" y="149839"/>
                    <a:pt x="317920" y="137928"/>
                    <a:pt x="332825" y="137928"/>
                  </a:cubicBezTo>
                  <a:close/>
                  <a:moveTo>
                    <a:pt x="347698" y="55512"/>
                  </a:moveTo>
                  <a:lnTo>
                    <a:pt x="347698" y="61464"/>
                  </a:lnTo>
                  <a:cubicBezTo>
                    <a:pt x="347698" y="96181"/>
                    <a:pt x="318892" y="124947"/>
                    <a:pt x="283131" y="124947"/>
                  </a:cubicBezTo>
                  <a:lnTo>
                    <a:pt x="276178" y="124947"/>
                  </a:lnTo>
                  <a:lnTo>
                    <a:pt x="276178" y="456251"/>
                  </a:lnTo>
                  <a:cubicBezTo>
                    <a:pt x="276178" y="460218"/>
                    <a:pt x="279158" y="463194"/>
                    <a:pt x="283131" y="463194"/>
                  </a:cubicBezTo>
                  <a:lnTo>
                    <a:pt x="536433" y="463194"/>
                  </a:lnTo>
                  <a:cubicBezTo>
                    <a:pt x="540407" y="463194"/>
                    <a:pt x="543387" y="460218"/>
                    <a:pt x="543387" y="456251"/>
                  </a:cubicBezTo>
                  <a:lnTo>
                    <a:pt x="542394" y="62455"/>
                  </a:lnTo>
                  <a:cubicBezTo>
                    <a:pt x="542394" y="58488"/>
                    <a:pt x="540407" y="55512"/>
                    <a:pt x="536433" y="55512"/>
                  </a:cubicBezTo>
                  <a:close/>
                  <a:moveTo>
                    <a:pt x="337765" y="956"/>
                  </a:moveTo>
                  <a:lnTo>
                    <a:pt x="537427" y="956"/>
                  </a:lnTo>
                  <a:cubicBezTo>
                    <a:pt x="571200" y="956"/>
                    <a:pt x="599014" y="27738"/>
                    <a:pt x="599014" y="62455"/>
                  </a:cubicBezTo>
                  <a:lnTo>
                    <a:pt x="599014" y="456251"/>
                  </a:lnTo>
                  <a:cubicBezTo>
                    <a:pt x="599014" y="489976"/>
                    <a:pt x="571200" y="518742"/>
                    <a:pt x="537427" y="518742"/>
                  </a:cubicBezTo>
                  <a:lnTo>
                    <a:pt x="283131" y="518742"/>
                  </a:lnTo>
                  <a:cubicBezTo>
                    <a:pt x="249358" y="518742"/>
                    <a:pt x="221544" y="489976"/>
                    <a:pt x="221544" y="456251"/>
                  </a:cubicBezTo>
                  <a:lnTo>
                    <a:pt x="221544" y="117011"/>
                  </a:lnTo>
                  <a:cubicBezTo>
                    <a:pt x="221544" y="103125"/>
                    <a:pt x="226511" y="89238"/>
                    <a:pt x="237437" y="79318"/>
                  </a:cubicBezTo>
                  <a:cubicBezTo>
                    <a:pt x="257304" y="58488"/>
                    <a:pt x="278164" y="38649"/>
                    <a:pt x="298031" y="17819"/>
                  </a:cubicBezTo>
                  <a:cubicBezTo>
                    <a:pt x="298031" y="17819"/>
                    <a:pt x="299025" y="16827"/>
                    <a:pt x="301011" y="15835"/>
                  </a:cubicBezTo>
                  <a:cubicBezTo>
                    <a:pt x="310945" y="5916"/>
                    <a:pt x="323858" y="956"/>
                    <a:pt x="337765" y="956"/>
                  </a:cubicBezTo>
                  <a:close/>
                  <a:moveTo>
                    <a:pt x="104322" y="0"/>
                  </a:moveTo>
                  <a:cubicBezTo>
                    <a:pt x="141618" y="0"/>
                    <a:pt x="171853" y="30413"/>
                    <a:pt x="171853" y="67929"/>
                  </a:cubicBezTo>
                  <a:cubicBezTo>
                    <a:pt x="171853" y="105445"/>
                    <a:pt x="141618" y="135858"/>
                    <a:pt x="104322" y="135858"/>
                  </a:cubicBezTo>
                  <a:cubicBezTo>
                    <a:pt x="67026" y="135858"/>
                    <a:pt x="36791" y="105445"/>
                    <a:pt x="36791" y="67929"/>
                  </a:cubicBezTo>
                  <a:cubicBezTo>
                    <a:pt x="36791" y="30413"/>
                    <a:pt x="67026" y="0"/>
                    <a:pt x="104322" y="0"/>
                  </a:cubicBezTo>
                  <a:close/>
                </a:path>
              </a:pathLst>
            </a:custGeom>
            <a:solidFill>
              <a:schemeClr val="bg1"/>
            </a:solidFill>
            <a:ln>
              <a:noFill/>
            </a:ln>
          </p:spPr>
          <p:txBody>
            <a:bodyPr wrap="square" lIns="91440" tIns="45720" rIns="91440" bIns="45720">
              <a:normAutofit fontScale="775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gr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3.xml><?xml version="1.0" encoding="utf-8"?>
<p:tagLst xmlns:a="http://schemas.openxmlformats.org/drawingml/2006/main" xmlns:r="http://schemas.openxmlformats.org/officeDocument/2006/relationships" xmlns:p="http://schemas.openxmlformats.org/presentationml/2006/main">
  <p:tag name="ISLIDE.DIAGRAM" val="267032"/>
</p:tagLst>
</file>

<file path=ppt/tags/tag4.xml><?xml version="1.0" encoding="utf-8"?>
<p:tagLst xmlns:a="http://schemas.openxmlformats.org/drawingml/2006/main" xmlns:r="http://schemas.openxmlformats.org/officeDocument/2006/relationships" xmlns:p="http://schemas.openxmlformats.org/presentationml/2006/main">
  <p:tag name="ISLIDE.DIAGRAM" val="#332176;"/>
</p:tagLst>
</file>

<file path=ppt/tags/tag5.xml><?xml version="1.0" encoding="utf-8"?>
<p:tagLst xmlns:a="http://schemas.openxmlformats.org/drawingml/2006/main" xmlns:r="http://schemas.openxmlformats.org/officeDocument/2006/relationships" xmlns:p="http://schemas.openxmlformats.org/presentationml/2006/main">
  <p:tag name="ISLIDE.DIAGRAM" val="#332176"/>
</p:tagLst>
</file>

<file path=ppt/tags/tag6.xml><?xml version="1.0" encoding="utf-8"?>
<p:tagLst xmlns:a="http://schemas.openxmlformats.org/drawingml/2006/main" xmlns:r="http://schemas.openxmlformats.org/officeDocument/2006/relationships" xmlns:p="http://schemas.openxmlformats.org/presentationml/2006/main">
  <p:tag name="ISLIDE.DIAGRAM" val="272404"/>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172A40"/>
      </a:accent1>
      <a:accent2>
        <a:srgbClr val="81A3B9"/>
      </a:accent2>
      <a:accent3>
        <a:srgbClr val="506B94"/>
      </a:accent3>
      <a:accent4>
        <a:srgbClr val="BECCD7"/>
      </a:accent4>
      <a:accent5>
        <a:srgbClr val="7B94AA"/>
      </a:accent5>
      <a:accent6>
        <a:srgbClr val="8CABEF"/>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172A40"/>
    </a:accent1>
    <a:accent2>
      <a:srgbClr val="81A3B9"/>
    </a:accent2>
    <a:accent3>
      <a:srgbClr val="506B94"/>
    </a:accent3>
    <a:accent4>
      <a:srgbClr val="BECCD7"/>
    </a:accent4>
    <a:accent5>
      <a:srgbClr val="7B94AA"/>
    </a:accent5>
    <a:accent6>
      <a:srgbClr val="8CABEF"/>
    </a:accent6>
    <a:hlink>
      <a:srgbClr val="4276AA"/>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172A40"/>
    </a:accent1>
    <a:accent2>
      <a:srgbClr val="81A3B9"/>
    </a:accent2>
    <a:accent3>
      <a:srgbClr val="506B94"/>
    </a:accent3>
    <a:accent4>
      <a:srgbClr val="BECCD7"/>
    </a:accent4>
    <a:accent5>
      <a:srgbClr val="7B94AA"/>
    </a:accent5>
    <a:accent6>
      <a:srgbClr val="8CABEF"/>
    </a:accent6>
    <a:hlink>
      <a:srgbClr val="4276AA"/>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172A40"/>
    </a:accent1>
    <a:accent2>
      <a:srgbClr val="81A3B9"/>
    </a:accent2>
    <a:accent3>
      <a:srgbClr val="506B94"/>
    </a:accent3>
    <a:accent4>
      <a:srgbClr val="BECCD7"/>
    </a:accent4>
    <a:accent5>
      <a:srgbClr val="7B94AA"/>
    </a:accent5>
    <a:accent6>
      <a:srgbClr val="8CABEF"/>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27</TotalTime>
  <Words>1243</Words>
  <Application>Microsoft Office PowerPoint</Application>
  <PresentationFormat>Grand écran</PresentationFormat>
  <Paragraphs>110</Paragraphs>
  <Slides>13</Slides>
  <Notes>12</Notes>
  <HiddenSlides>0</HiddenSlides>
  <MMClips>0</MMClips>
  <ScaleCrop>false</ScaleCrop>
  <HeadingPairs>
    <vt:vector size="8" baseType="variant">
      <vt:variant>
        <vt:lpstr>Polices utilisées</vt:lpstr>
      </vt:variant>
      <vt:variant>
        <vt:i4>6</vt:i4>
      </vt:variant>
      <vt:variant>
        <vt:lpstr>Thème</vt:lpstr>
      </vt:variant>
      <vt:variant>
        <vt:i4>1</vt:i4>
      </vt:variant>
      <vt:variant>
        <vt:lpstr>Serveurs OLE incorporés</vt:lpstr>
      </vt:variant>
      <vt:variant>
        <vt:i4>1</vt:i4>
      </vt:variant>
      <vt:variant>
        <vt:lpstr>Titres des diapositives</vt:lpstr>
      </vt:variant>
      <vt:variant>
        <vt:i4>13</vt:i4>
      </vt:variant>
    </vt:vector>
  </HeadingPairs>
  <TitlesOfParts>
    <vt:vector size="21" baseType="lpstr">
      <vt:lpstr>微软雅黑</vt:lpstr>
      <vt:lpstr>宋体</vt:lpstr>
      <vt:lpstr>华文楷体</vt:lpstr>
      <vt:lpstr>Arial</vt:lpstr>
      <vt:lpstr>Calibri</vt:lpstr>
      <vt:lpstr>Impact</vt:lpstr>
      <vt:lpstr>主题5</vt:lpstr>
      <vt:lpstr>think-cell Slide</vt:lpstr>
      <vt:lpstr> Pratique et réflexion sur l'évaluation des nouvelles technologies médicales à Shanghai</vt:lpstr>
      <vt:lpstr>Présentation PowerPoint</vt:lpstr>
      <vt:lpstr> Notre pratique </vt:lpstr>
      <vt:lpstr>But et signification</vt:lpstr>
      <vt:lpstr> Lois et règlements</vt:lpstr>
      <vt:lpstr>Processus principal</vt:lpstr>
      <vt:lpstr>Processus principal</vt:lpstr>
      <vt:lpstr>Processus principal</vt:lpstr>
      <vt:lpstr>Processus principal</vt:lpstr>
      <vt:lpstr> Processus de dépôt restreint de technologie médicale</vt:lpstr>
      <vt:lpstr>Notre réflexion</vt:lpstr>
      <vt:lpstr>Quel est l'objectif de la gestion des applications cliniques des nouvelles technologies?</vt:lpstr>
      <vt:lpstr> Merci pour l'écoute </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LEI Ping</cp:lastModifiedBy>
  <cp:revision>64</cp:revision>
  <cp:lastPrinted>1900-01-01T00:00:00Z</cp:lastPrinted>
  <dcterms:created xsi:type="dcterms:W3CDTF">1900-01-01T00:00:00Z</dcterms:created>
  <dcterms:modified xsi:type="dcterms:W3CDTF">2020-07-19T09:01: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KSOProductBuildVer">
    <vt:lpwstr>2052-10.12.1</vt:lpwstr>
  </property>
</Properties>
</file>